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5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drawings/drawing1.xml" ContentType="application/vnd.openxmlformats-officedocument.drawingml.chartshape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819" r:id="rId3"/>
    <p:sldMasterId id="2147483826" r:id="rId4"/>
    <p:sldMasterId id="2147483833" r:id="rId5"/>
    <p:sldMasterId id="2147483842" r:id="rId6"/>
  </p:sldMasterIdLst>
  <p:notesMasterIdLst>
    <p:notesMasterId r:id="rId48"/>
  </p:notesMasterIdLst>
  <p:sldIdLst>
    <p:sldId id="1624" r:id="rId7"/>
    <p:sldId id="2383" r:id="rId8"/>
    <p:sldId id="2431" r:id="rId9"/>
    <p:sldId id="2432" r:id="rId10"/>
    <p:sldId id="2385" r:id="rId11"/>
    <p:sldId id="2386" r:id="rId12"/>
    <p:sldId id="2442" r:id="rId13"/>
    <p:sldId id="2379" r:id="rId14"/>
    <p:sldId id="2260" r:id="rId15"/>
    <p:sldId id="2404" r:id="rId16"/>
    <p:sldId id="2196" r:id="rId17"/>
    <p:sldId id="2190" r:id="rId18"/>
    <p:sldId id="2197" r:id="rId19"/>
    <p:sldId id="2403" r:id="rId20"/>
    <p:sldId id="2381" r:id="rId21"/>
    <p:sldId id="2345" r:id="rId22"/>
    <p:sldId id="2346" r:id="rId23"/>
    <p:sldId id="2365" r:id="rId24"/>
    <p:sldId id="4468" r:id="rId25"/>
    <p:sldId id="2401" r:id="rId26"/>
    <p:sldId id="2402" r:id="rId27"/>
    <p:sldId id="2406" r:id="rId28"/>
    <p:sldId id="4469" r:id="rId29"/>
    <p:sldId id="2410" r:id="rId30"/>
    <p:sldId id="2411" r:id="rId31"/>
    <p:sldId id="2443" r:id="rId32"/>
    <p:sldId id="2444" r:id="rId33"/>
    <p:sldId id="2445" r:id="rId34"/>
    <p:sldId id="2446" r:id="rId35"/>
    <p:sldId id="1751" r:id="rId36"/>
    <p:sldId id="2387" r:id="rId37"/>
    <p:sldId id="2328" r:id="rId38"/>
    <p:sldId id="2388" r:id="rId39"/>
    <p:sldId id="2389" r:id="rId40"/>
    <p:sldId id="2390" r:id="rId41"/>
    <p:sldId id="2391" r:id="rId42"/>
    <p:sldId id="2392" r:id="rId43"/>
    <p:sldId id="2393" r:id="rId44"/>
    <p:sldId id="2394" r:id="rId45"/>
    <p:sldId id="2395" r:id="rId46"/>
    <p:sldId id="2396" r:id="rId47"/>
  </p:sldIdLst>
  <p:sldSz cx="12192000" cy="6858000"/>
  <p:notesSz cx="6858000" cy="9144000"/>
  <p:custDataLst>
    <p:tags r:id="rId49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0000FF"/>
    <a:srgbClr val="FF9900"/>
    <a:srgbClr val="3333CC"/>
    <a:srgbClr val="D31145"/>
    <a:srgbClr val="FF33CC"/>
    <a:srgbClr val="00B050"/>
    <a:srgbClr val="800000"/>
    <a:srgbClr val="EAEFF7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51" autoAdjust="0"/>
    <p:restoredTop sz="93878" autoAdjust="0"/>
  </p:normalViewPr>
  <p:slideViewPr>
    <p:cSldViewPr snapToGrid="0">
      <p:cViewPr varScale="1">
        <p:scale>
          <a:sx n="100" d="100"/>
          <a:sy n="100" d="100"/>
        </p:scale>
        <p:origin x="468" y="72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presProps" Target="presProp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51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chartUserShapes" Target="../drawings/drawing1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G$2:$G$158</c:f>
              <c:numCache>
                <c:formatCode>General</c:formatCode>
                <c:ptCount val="157"/>
                <c:pt idx="0">
                  <c:v>158</c:v>
                </c:pt>
                <c:pt idx="1">
                  <c:v>147</c:v>
                </c:pt>
                <c:pt idx="2">
                  <c:v>255</c:v>
                </c:pt>
                <c:pt idx="3">
                  <c:v>172</c:v>
                </c:pt>
                <c:pt idx="4">
                  <c:v>182</c:v>
                </c:pt>
                <c:pt idx="5">
                  <c:v>171</c:v>
                </c:pt>
                <c:pt idx="6">
                  <c:v>176</c:v>
                </c:pt>
                <c:pt idx="7">
                  <c:v>92</c:v>
                </c:pt>
                <c:pt idx="8">
                  <c:v>102</c:v>
                </c:pt>
                <c:pt idx="9">
                  <c:v>176</c:v>
                </c:pt>
                <c:pt idx="10">
                  <c:v>139</c:v>
                </c:pt>
                <c:pt idx="11">
                  <c:v>138</c:v>
                </c:pt>
                <c:pt idx="12">
                  <c:v>121</c:v>
                </c:pt>
                <c:pt idx="13">
                  <c:v>105</c:v>
                </c:pt>
                <c:pt idx="14">
                  <c:v>65</c:v>
                </c:pt>
                <c:pt idx="15">
                  <c:v>65</c:v>
                </c:pt>
                <c:pt idx="16">
                  <c:v>103</c:v>
                </c:pt>
                <c:pt idx="17">
                  <c:v>80</c:v>
                </c:pt>
                <c:pt idx="18">
                  <c:v>69</c:v>
                </c:pt>
                <c:pt idx="19">
                  <c:v>68</c:v>
                </c:pt>
                <c:pt idx="20">
                  <c:v>77</c:v>
                </c:pt>
                <c:pt idx="21">
                  <c:v>35</c:v>
                </c:pt>
                <c:pt idx="22">
                  <c:v>29</c:v>
                </c:pt>
                <c:pt idx="23">
                  <c:v>57</c:v>
                </c:pt>
                <c:pt idx="24">
                  <c:v>59</c:v>
                </c:pt>
                <c:pt idx="25">
                  <c:v>61</c:v>
                </c:pt>
                <c:pt idx="26">
                  <c:v>38</c:v>
                </c:pt>
                <c:pt idx="27">
                  <c:v>40</c:v>
                </c:pt>
                <c:pt idx="28">
                  <c:v>19</c:v>
                </c:pt>
                <c:pt idx="29">
                  <c:v>27</c:v>
                </c:pt>
                <c:pt idx="30">
                  <c:v>41</c:v>
                </c:pt>
                <c:pt idx="31">
                  <c:v>28</c:v>
                </c:pt>
                <c:pt idx="32">
                  <c:v>38</c:v>
                </c:pt>
                <c:pt idx="33">
                  <c:v>20</c:v>
                </c:pt>
                <c:pt idx="34">
                  <c:v>28</c:v>
                </c:pt>
                <c:pt idx="35">
                  <c:v>15</c:v>
                </c:pt>
                <c:pt idx="36">
                  <c:v>12</c:v>
                </c:pt>
                <c:pt idx="37">
                  <c:v>14</c:v>
                </c:pt>
                <c:pt idx="38">
                  <c:v>23</c:v>
                </c:pt>
                <c:pt idx="39">
                  <c:v>15</c:v>
                </c:pt>
                <c:pt idx="40">
                  <c:v>18</c:v>
                </c:pt>
                <c:pt idx="41">
                  <c:v>10</c:v>
                </c:pt>
                <c:pt idx="42">
                  <c:v>8</c:v>
                </c:pt>
                <c:pt idx="43">
                  <c:v>5</c:v>
                </c:pt>
                <c:pt idx="44">
                  <c:v>9</c:v>
                </c:pt>
                <c:pt idx="45">
                  <c:v>9</c:v>
                </c:pt>
                <c:pt idx="46">
                  <c:v>6</c:v>
                </c:pt>
                <c:pt idx="47">
                  <c:v>24</c:v>
                </c:pt>
                <c:pt idx="48">
                  <c:v>8</c:v>
                </c:pt>
                <c:pt idx="49">
                  <c:v>10</c:v>
                </c:pt>
                <c:pt idx="50">
                  <c:v>2</c:v>
                </c:pt>
                <c:pt idx="51">
                  <c:v>8</c:v>
                </c:pt>
                <c:pt idx="52">
                  <c:v>7</c:v>
                </c:pt>
                <c:pt idx="53">
                  <c:v>7</c:v>
                </c:pt>
                <c:pt idx="54">
                  <c:v>4</c:v>
                </c:pt>
                <c:pt idx="55">
                  <c:v>6</c:v>
                </c:pt>
                <c:pt idx="56">
                  <c:v>2</c:v>
                </c:pt>
                <c:pt idx="57">
                  <c:v>2</c:v>
                </c:pt>
                <c:pt idx="58">
                  <c:v>7</c:v>
                </c:pt>
                <c:pt idx="59">
                  <c:v>2</c:v>
                </c:pt>
                <c:pt idx="60">
                  <c:v>10</c:v>
                </c:pt>
                <c:pt idx="61">
                  <c:v>4</c:v>
                </c:pt>
                <c:pt idx="62">
                  <c:v>2</c:v>
                </c:pt>
                <c:pt idx="63">
                  <c:v>2</c:v>
                </c:pt>
                <c:pt idx="64">
                  <c:v>3</c:v>
                </c:pt>
                <c:pt idx="65">
                  <c:v>2</c:v>
                </c:pt>
                <c:pt idx="67">
                  <c:v>8</c:v>
                </c:pt>
                <c:pt idx="68">
                  <c:v>4</c:v>
                </c:pt>
                <c:pt idx="69">
                  <c:v>5</c:v>
                </c:pt>
                <c:pt idx="70">
                  <c:v>3</c:v>
                </c:pt>
                <c:pt idx="71">
                  <c:v>5</c:v>
                </c:pt>
                <c:pt idx="72">
                  <c:v>8</c:v>
                </c:pt>
                <c:pt idx="74">
                  <c:v>5</c:v>
                </c:pt>
                <c:pt idx="75">
                  <c:v>6</c:v>
                </c:pt>
                <c:pt idx="76">
                  <c:v>6</c:v>
                </c:pt>
                <c:pt idx="77">
                  <c:v>4</c:v>
                </c:pt>
                <c:pt idx="78">
                  <c:v>2</c:v>
                </c:pt>
                <c:pt idx="79">
                  <c:v>10</c:v>
                </c:pt>
                <c:pt idx="80">
                  <c:v>5</c:v>
                </c:pt>
                <c:pt idx="81">
                  <c:v>6</c:v>
                </c:pt>
                <c:pt idx="82">
                  <c:v>6</c:v>
                </c:pt>
                <c:pt idx="83">
                  <c:v>5</c:v>
                </c:pt>
                <c:pt idx="84">
                  <c:v>6</c:v>
                </c:pt>
                <c:pt idx="85">
                  <c:v>8</c:v>
                </c:pt>
                <c:pt idx="86">
                  <c:v>14</c:v>
                </c:pt>
                <c:pt idx="87">
                  <c:v>3</c:v>
                </c:pt>
                <c:pt idx="88">
                  <c:v>7</c:v>
                </c:pt>
                <c:pt idx="89">
                  <c:v>11</c:v>
                </c:pt>
                <c:pt idx="90">
                  <c:v>4</c:v>
                </c:pt>
                <c:pt idx="91">
                  <c:v>5</c:v>
                </c:pt>
                <c:pt idx="92">
                  <c:v>4</c:v>
                </c:pt>
                <c:pt idx="93">
                  <c:v>9</c:v>
                </c:pt>
                <c:pt idx="94">
                  <c:v>3</c:v>
                </c:pt>
                <c:pt idx="95">
                  <c:v>12</c:v>
                </c:pt>
                <c:pt idx="96">
                  <c:v>3</c:v>
                </c:pt>
                <c:pt idx="97">
                  <c:v>9</c:v>
                </c:pt>
                <c:pt idx="98">
                  <c:v>6</c:v>
                </c:pt>
                <c:pt idx="99">
                  <c:v>2</c:v>
                </c:pt>
                <c:pt idx="100">
                  <c:v>7</c:v>
                </c:pt>
                <c:pt idx="101">
                  <c:v>7</c:v>
                </c:pt>
                <c:pt idx="102">
                  <c:v>7</c:v>
                </c:pt>
                <c:pt idx="103">
                  <c:v>5</c:v>
                </c:pt>
                <c:pt idx="104">
                  <c:v>6</c:v>
                </c:pt>
                <c:pt idx="105">
                  <c:v>9</c:v>
                </c:pt>
                <c:pt idx="106">
                  <c:v>5</c:v>
                </c:pt>
                <c:pt idx="107">
                  <c:v>10</c:v>
                </c:pt>
                <c:pt idx="108">
                  <c:v>7</c:v>
                </c:pt>
                <c:pt idx="109">
                  <c:v>9</c:v>
                </c:pt>
                <c:pt idx="110">
                  <c:v>10</c:v>
                </c:pt>
                <c:pt idx="111">
                  <c:v>10</c:v>
                </c:pt>
                <c:pt idx="112">
                  <c:v>6</c:v>
                </c:pt>
                <c:pt idx="113">
                  <c:v>6</c:v>
                </c:pt>
                <c:pt idx="114">
                  <c:v>8</c:v>
                </c:pt>
                <c:pt idx="115">
                  <c:v>11</c:v>
                </c:pt>
                <c:pt idx="116">
                  <c:v>10</c:v>
                </c:pt>
                <c:pt idx="117">
                  <c:v>7</c:v>
                </c:pt>
                <c:pt idx="118">
                  <c:v>7</c:v>
                </c:pt>
                <c:pt idx="119">
                  <c:v>5</c:v>
                </c:pt>
                <c:pt idx="120">
                  <c:v>3</c:v>
                </c:pt>
                <c:pt idx="121">
                  <c:v>4</c:v>
                </c:pt>
                <c:pt idx="122">
                  <c:v>9</c:v>
                </c:pt>
                <c:pt idx="123">
                  <c:v>15</c:v>
                </c:pt>
                <c:pt idx="124">
                  <c:v>10</c:v>
                </c:pt>
                <c:pt idx="125">
                  <c:v>14</c:v>
                </c:pt>
                <c:pt idx="126">
                  <c:v>7</c:v>
                </c:pt>
                <c:pt idx="127">
                  <c:v>10</c:v>
                </c:pt>
                <c:pt idx="128">
                  <c:v>17</c:v>
                </c:pt>
                <c:pt idx="129">
                  <c:v>13</c:v>
                </c:pt>
                <c:pt idx="130">
                  <c:v>15</c:v>
                </c:pt>
                <c:pt idx="131">
                  <c:v>16</c:v>
                </c:pt>
                <c:pt idx="132">
                  <c:v>13</c:v>
                </c:pt>
                <c:pt idx="133">
                  <c:v>12</c:v>
                </c:pt>
                <c:pt idx="134">
                  <c:v>17</c:v>
                </c:pt>
                <c:pt idx="135">
                  <c:v>29</c:v>
                </c:pt>
                <c:pt idx="136">
                  <c:v>25</c:v>
                </c:pt>
                <c:pt idx="137">
                  <c:v>17</c:v>
                </c:pt>
                <c:pt idx="138">
                  <c:v>18</c:v>
                </c:pt>
                <c:pt idx="139">
                  <c:v>31</c:v>
                </c:pt>
                <c:pt idx="140">
                  <c:v>9</c:v>
                </c:pt>
                <c:pt idx="141">
                  <c:v>14</c:v>
                </c:pt>
                <c:pt idx="142">
                  <c:v>23</c:v>
                </c:pt>
                <c:pt idx="143">
                  <c:v>18</c:v>
                </c:pt>
                <c:pt idx="144">
                  <c:v>14</c:v>
                </c:pt>
                <c:pt idx="145">
                  <c:v>20</c:v>
                </c:pt>
                <c:pt idx="146">
                  <c:v>16</c:v>
                </c:pt>
                <c:pt idx="147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C$2:$C$158</c:f>
              <c:numCache>
                <c:formatCode>General</c:formatCode>
                <c:ptCount val="157"/>
                <c:pt idx="0">
                  <c:v>197.37176117405326</c:v>
                </c:pt>
                <c:pt idx="1">
                  <c:v>185.14084426704912</c:v>
                </c:pt>
                <c:pt idx="2">
                  <c:v>177.61019697378626</c:v>
                </c:pt>
                <c:pt idx="3">
                  <c:v>169.18427515658644</c:v>
                </c:pt>
                <c:pt idx="4">
                  <c:v>160.20861098342189</c:v>
                </c:pt>
                <c:pt idx="5">
                  <c:v>151.09874868848689</c:v>
                </c:pt>
                <c:pt idx="6">
                  <c:v>141.43401567520209</c:v>
                </c:pt>
                <c:pt idx="7">
                  <c:v>131.75819782226895</c:v>
                </c:pt>
                <c:pt idx="8">
                  <c:v>123.1545042610922</c:v>
                </c:pt>
                <c:pt idx="9">
                  <c:v>115.36405129587926</c:v>
                </c:pt>
                <c:pt idx="10">
                  <c:v>108.1369932623421</c:v>
                </c:pt>
                <c:pt idx="11">
                  <c:v>101.51445156737505</c:v>
                </c:pt>
                <c:pt idx="12">
                  <c:v>95.437970742670217</c:v>
                </c:pt>
                <c:pt idx="13">
                  <c:v>89.594063499245891</c:v>
                </c:pt>
                <c:pt idx="14">
                  <c:v>84.104538928839474</c:v>
                </c:pt>
                <c:pt idx="15">
                  <c:v>79.049880044172568</c:v>
                </c:pt>
                <c:pt idx="16">
                  <c:v>74.351837911710476</c:v>
                </c:pt>
                <c:pt idx="17">
                  <c:v>69.882749437621058</c:v>
                </c:pt>
                <c:pt idx="18">
                  <c:v>65.719645260449013</c:v>
                </c:pt>
                <c:pt idx="19">
                  <c:v>61.795747563487431</c:v>
                </c:pt>
                <c:pt idx="20">
                  <c:v>58.062358939914951</c:v>
                </c:pt>
                <c:pt idx="21">
                  <c:v>54.517453671631444</c:v>
                </c:pt>
                <c:pt idx="22">
                  <c:v>51.184671694253666</c:v>
                </c:pt>
                <c:pt idx="23">
                  <c:v>48.08300970904844</c:v>
                </c:pt>
                <c:pt idx="24">
                  <c:v>45.182848916268824</c:v>
                </c:pt>
                <c:pt idx="25">
                  <c:v>42.476789294323915</c:v>
                </c:pt>
                <c:pt idx="26">
                  <c:v>39.902282900800088</c:v>
                </c:pt>
                <c:pt idx="27">
                  <c:v>37.468307828113581</c:v>
                </c:pt>
                <c:pt idx="28">
                  <c:v>35.184858033628053</c:v>
                </c:pt>
                <c:pt idx="29">
                  <c:v>33.038837288866745</c:v>
                </c:pt>
                <c:pt idx="30">
                  <c:v>31.019705659784456</c:v>
                </c:pt>
                <c:pt idx="31">
                  <c:v>29.135609603490497</c:v>
                </c:pt>
                <c:pt idx="32">
                  <c:v>27.365181805647403</c:v>
                </c:pt>
                <c:pt idx="33">
                  <c:v>25.69923791226077</c:v>
                </c:pt>
                <c:pt idx="34">
                  <c:v>24.13024674904668</c:v>
                </c:pt>
                <c:pt idx="35">
                  <c:v>22.652264353416317</c:v>
                </c:pt>
                <c:pt idx="36">
                  <c:v>21.261665423965848</c:v>
                </c:pt>
                <c:pt idx="37">
                  <c:v>19.954691578494536</c:v>
                </c:pt>
                <c:pt idx="38">
                  <c:v>18.819548793034226</c:v>
                </c:pt>
                <c:pt idx="39">
                  <c:v>17.816642941711503</c:v>
                </c:pt>
                <c:pt idx="40">
                  <c:v>16.912783032712529</c:v>
                </c:pt>
                <c:pt idx="41">
                  <c:v>16.089820422627351</c:v>
                </c:pt>
                <c:pt idx="42">
                  <c:v>15.337734645254734</c:v>
                </c:pt>
                <c:pt idx="43">
                  <c:v>14.652475634218046</c:v>
                </c:pt>
                <c:pt idx="44">
                  <c:v>14.030447159788743</c:v>
                </c:pt>
                <c:pt idx="45">
                  <c:v>13.46507998684514</c:v>
                </c:pt>
                <c:pt idx="46">
                  <c:v>12.947182973318787</c:v>
                </c:pt>
                <c:pt idx="47">
                  <c:v>12.468676278398018</c:v>
                </c:pt>
                <c:pt idx="48">
                  <c:v>12.022401535786683</c:v>
                </c:pt>
                <c:pt idx="49">
                  <c:v>11.602330694788099</c:v>
                </c:pt>
                <c:pt idx="50">
                  <c:v>11.203243094763653</c:v>
                </c:pt>
                <c:pt idx="51">
                  <c:v>10.821352512009637</c:v>
                </c:pt>
                <c:pt idx="52">
                  <c:v>10.453636157548454</c:v>
                </c:pt>
                <c:pt idx="53">
                  <c:v>10.097862910362068</c:v>
                </c:pt>
                <c:pt idx="54">
                  <c:v>9.7524000087844218</c:v>
                </c:pt>
                <c:pt idx="55">
                  <c:v>9.4158802562710946</c:v>
                </c:pt>
                <c:pt idx="56">
                  <c:v>9.0874037814845092</c:v>
                </c:pt>
                <c:pt idx="57">
                  <c:v>8.7662919563495834</c:v>
                </c:pt>
                <c:pt idx="58">
                  <c:v>8.4521519662632354</c:v>
                </c:pt>
                <c:pt idx="59">
                  <c:v>8.1446065806119154</c:v>
                </c:pt>
                <c:pt idx="60">
                  <c:v>7.843378939272414</c:v>
                </c:pt>
                <c:pt idx="61">
                  <c:v>7.5483303001406155</c:v>
                </c:pt>
                <c:pt idx="62">
                  <c:v>7.2593913273476485</c:v>
                </c:pt>
                <c:pt idx="63">
                  <c:v>6.9765810485962545</c:v>
                </c:pt>
                <c:pt idx="64">
                  <c:v>6.6998481245276453</c:v>
                </c:pt>
                <c:pt idx="65">
                  <c:v>6.4292372469121286</c:v>
                </c:pt>
                <c:pt idx="66">
                  <c:v>6.1648093800516017</c:v>
                </c:pt>
                <c:pt idx="67">
                  <c:v>5.9066035092806928</c:v>
                </c:pt>
                <c:pt idx="68">
                  <c:v>5.6546837166480035</c:v>
                </c:pt>
                <c:pt idx="69">
                  <c:v>5.4081890763998732</c:v>
                </c:pt>
                <c:pt idx="70">
                  <c:v>5.1670145310298885</c:v>
                </c:pt>
                <c:pt idx="71">
                  <c:v>4.9305399134739751</c:v>
                </c:pt>
                <c:pt idx="72">
                  <c:v>4.6981872883666975</c:v>
                </c:pt>
                <c:pt idx="73">
                  <c:v>4.4695375191179938</c:v>
                </c:pt>
                <c:pt idx="74">
                  <c:v>4.2443276760706512</c:v>
                </c:pt>
                <c:pt idx="75">
                  <c:v>4.0225841783060163</c:v>
                </c:pt>
                <c:pt idx="76">
                  <c:v>3.8045235841606324</c:v>
                </c:pt>
                <c:pt idx="77">
                  <c:v>3.59066527483516</c:v>
                </c:pt>
                <c:pt idx="78">
                  <c:v>3.3816510520857084</c:v>
                </c:pt>
                <c:pt idx="79">
                  <c:v>3.178181963545935</c:v>
                </c:pt>
                <c:pt idx="80">
                  <c:v>2.9808504314010729</c:v>
                </c:pt>
                <c:pt idx="81">
                  <c:v>2.7903086337445351</c:v>
                </c:pt>
                <c:pt idx="82">
                  <c:v>2.6070380321043984</c:v>
                </c:pt>
                <c:pt idx="83">
                  <c:v>2.4313898988316267</c:v>
                </c:pt>
                <c:pt idx="84">
                  <c:v>2.2636513806029877</c:v>
                </c:pt>
                <c:pt idx="85">
                  <c:v>2.1040161013303615</c:v>
                </c:pt>
                <c:pt idx="86">
                  <c:v>1.9525823617868756</c:v>
                </c:pt>
                <c:pt idx="87">
                  <c:v>1.8093324421366135</c:v>
                </c:pt>
                <c:pt idx="88">
                  <c:v>1.6741972068289905</c:v>
                </c:pt>
                <c:pt idx="89">
                  <c:v>1.547038250997065</c:v>
                </c:pt>
                <c:pt idx="90">
                  <c:v>1.4276821612293262</c:v>
                </c:pt>
                <c:pt idx="91">
                  <c:v>1.3159147341215114</c:v>
                </c:pt>
                <c:pt idx="92">
                  <c:v>1.2114810273466394</c:v>
                </c:pt>
                <c:pt idx="93">
                  <c:v>1.1141258467243274</c:v>
                </c:pt>
                <c:pt idx="94">
                  <c:v>1.0235482310466566</c:v>
                </c:pt>
                <c:pt idx="95">
                  <c:v>0.93943390920031555</c:v>
                </c:pt>
                <c:pt idx="96">
                  <c:v>0.86144964109816025</c:v>
                </c:pt>
                <c:pt idx="97">
                  <c:v>0.78925752721387155</c:v>
                </c:pt>
                <c:pt idx="98">
                  <c:v>0.72252599829727104</c:v>
                </c:pt>
                <c:pt idx="99">
                  <c:v>0.6609270644982238</c:v>
                </c:pt>
                <c:pt idx="100">
                  <c:v>0.60409835510654997</c:v>
                </c:pt>
                <c:pt idx="101">
                  <c:v>0.55170470142103134</c:v>
                </c:pt>
                <c:pt idx="102">
                  <c:v>0.50343599077314671</c:v>
                </c:pt>
                <c:pt idx="103">
                  <c:v>0.45900729866177914</c:v>
                </c:pt>
                <c:pt idx="104">
                  <c:v>0.41815134354297057</c:v>
                </c:pt>
                <c:pt idx="105">
                  <c:v>0.38061143138082532</c:v>
                </c:pt>
                <c:pt idx="106">
                  <c:v>0.89428737600640407</c:v>
                </c:pt>
                <c:pt idx="107">
                  <c:v>1.43949015545049</c:v>
                </c:pt>
                <c:pt idx="108">
                  <c:v>2.0075285883612706</c:v>
                </c:pt>
                <c:pt idx="109">
                  <c:v>2.5905349173461092</c:v>
                </c:pt>
                <c:pt idx="110">
                  <c:v>3.1807674332337905</c:v>
                </c:pt>
                <c:pt idx="111">
                  <c:v>3.8185348944522604</c:v>
                </c:pt>
                <c:pt idx="112">
                  <c:v>4.486541308340569</c:v>
                </c:pt>
                <c:pt idx="113">
                  <c:v>5.163843257871183</c:v>
                </c:pt>
                <c:pt idx="114">
                  <c:v>5.8357611096200648</c:v>
                </c:pt>
                <c:pt idx="115">
                  <c:v>6.4924226291251541</c:v>
                </c:pt>
                <c:pt idx="116">
                  <c:v>7.1274357303268969</c:v>
                </c:pt>
                <c:pt idx="117">
                  <c:v>7.7374730965510379</c:v>
                </c:pt>
                <c:pt idx="118">
                  <c:v>8.3206275638589204</c:v>
                </c:pt>
                <c:pt idx="119">
                  <c:v>8.8761322660299449</c:v>
                </c:pt>
                <c:pt idx="120">
                  <c:v>9.4042620895453766</c:v>
                </c:pt>
                <c:pt idx="121">
                  <c:v>9.9056271454953624</c:v>
                </c:pt>
                <c:pt idx="122">
                  <c:v>10.380814382325291</c:v>
                </c:pt>
                <c:pt idx="123">
                  <c:v>10.830955180597979</c:v>
                </c:pt>
                <c:pt idx="124">
                  <c:v>11.257430000414633</c:v>
                </c:pt>
                <c:pt idx="125">
                  <c:v>11.661611909036122</c:v>
                </c:pt>
                <c:pt idx="126">
                  <c:v>12.044867641369908</c:v>
                </c:pt>
                <c:pt idx="127">
                  <c:v>12.408602744267107</c:v>
                </c:pt>
                <c:pt idx="128">
                  <c:v>12.75425073806155</c:v>
                </c:pt>
                <c:pt idx="129">
                  <c:v>13.083070558219418</c:v>
                </c:pt>
                <c:pt idx="130">
                  <c:v>13.396389378319267</c:v>
                </c:pt>
                <c:pt idx="131">
                  <c:v>13.695290242476339</c:v>
                </c:pt>
                <c:pt idx="132">
                  <c:v>13.980872145163318</c:v>
                </c:pt>
                <c:pt idx="133">
                  <c:v>14.254161757189333</c:v>
                </c:pt>
                <c:pt idx="134">
                  <c:v>14.516083555264249</c:v>
                </c:pt>
                <c:pt idx="135">
                  <c:v>14.76766455735828</c:v>
                </c:pt>
                <c:pt idx="136">
                  <c:v>15.009722209648789</c:v>
                </c:pt>
                <c:pt idx="137">
                  <c:v>15.243002924349316</c:v>
                </c:pt>
                <c:pt idx="138">
                  <c:v>15.46817425329365</c:v>
                </c:pt>
                <c:pt idx="139">
                  <c:v>15.685850308004092</c:v>
                </c:pt>
                <c:pt idx="140">
                  <c:v>15.89661908914859</c:v>
                </c:pt>
                <c:pt idx="141">
                  <c:v>16.101018663789237</c:v>
                </c:pt>
                <c:pt idx="142">
                  <c:v>16.29910673552811</c:v>
                </c:pt>
                <c:pt idx="143">
                  <c:v>16.491006021956551</c:v>
                </c:pt>
                <c:pt idx="144">
                  <c:v>16.676847875694648</c:v>
                </c:pt>
                <c:pt idx="145">
                  <c:v>16.856824121005481</c:v>
                </c:pt>
                <c:pt idx="146">
                  <c:v>17.031107297231067</c:v>
                </c:pt>
                <c:pt idx="147">
                  <c:v>17.199772308338968</c:v>
                </c:pt>
                <c:pt idx="148">
                  <c:v>17.362821906972023</c:v>
                </c:pt>
                <c:pt idx="149">
                  <c:v>17.520212631086576</c:v>
                </c:pt>
                <c:pt idx="150">
                  <c:v>17.671882613935971</c:v>
                </c:pt>
                <c:pt idx="151">
                  <c:v>17.817759821087474</c:v>
                </c:pt>
                <c:pt idx="152">
                  <c:v>17.957765900440695</c:v>
                </c:pt>
                <c:pt idx="153">
                  <c:v>18.091811832348132</c:v>
                </c:pt>
                <c:pt idx="154">
                  <c:v>18.219797754137737</c:v>
                </c:pt>
                <c:pt idx="155">
                  <c:v>18.341611874481366</c:v>
                </c:pt>
                <c:pt idx="156">
                  <c:v>18.4571330277634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D$2:$D$158</c:f>
              <c:numCache>
                <c:formatCode>General</c:formatCode>
                <c:ptCount val="157"/>
                <c:pt idx="0">
                  <c:v>197.37176117405326</c:v>
                </c:pt>
                <c:pt idx="1">
                  <c:v>185.14084426704912</c:v>
                </c:pt>
                <c:pt idx="2">
                  <c:v>177.61019697378626</c:v>
                </c:pt>
                <c:pt idx="3">
                  <c:v>169.18427515658644</c:v>
                </c:pt>
                <c:pt idx="4">
                  <c:v>160.20861098342189</c:v>
                </c:pt>
                <c:pt idx="5">
                  <c:v>151.09874868848689</c:v>
                </c:pt>
                <c:pt idx="6">
                  <c:v>141.43401567520209</c:v>
                </c:pt>
                <c:pt idx="7">
                  <c:v>131.75819782226895</c:v>
                </c:pt>
                <c:pt idx="8">
                  <c:v>123.1545042610922</c:v>
                </c:pt>
                <c:pt idx="9">
                  <c:v>115.36405129587926</c:v>
                </c:pt>
                <c:pt idx="10">
                  <c:v>108.1369932623421</c:v>
                </c:pt>
                <c:pt idx="11">
                  <c:v>101.51445156737505</c:v>
                </c:pt>
                <c:pt idx="12">
                  <c:v>95.437970742670217</c:v>
                </c:pt>
                <c:pt idx="13">
                  <c:v>89.594063499245891</c:v>
                </c:pt>
                <c:pt idx="14">
                  <c:v>84.104538928839474</c:v>
                </c:pt>
                <c:pt idx="15">
                  <c:v>79.049880044172568</c:v>
                </c:pt>
                <c:pt idx="16">
                  <c:v>74.351837911710476</c:v>
                </c:pt>
                <c:pt idx="17">
                  <c:v>69.882749437621058</c:v>
                </c:pt>
                <c:pt idx="18">
                  <c:v>65.719645260449013</c:v>
                </c:pt>
                <c:pt idx="19">
                  <c:v>61.795747563487431</c:v>
                </c:pt>
                <c:pt idx="20">
                  <c:v>58.062358939914951</c:v>
                </c:pt>
                <c:pt idx="21">
                  <c:v>54.517453671631444</c:v>
                </c:pt>
                <c:pt idx="22">
                  <c:v>51.184671694253666</c:v>
                </c:pt>
                <c:pt idx="23">
                  <c:v>48.08300970904844</c:v>
                </c:pt>
                <c:pt idx="24">
                  <c:v>45.182848916268824</c:v>
                </c:pt>
                <c:pt idx="25">
                  <c:v>42.476789294323915</c:v>
                </c:pt>
                <c:pt idx="26">
                  <c:v>39.902282900800088</c:v>
                </c:pt>
                <c:pt idx="27">
                  <c:v>37.468307828113581</c:v>
                </c:pt>
                <c:pt idx="28">
                  <c:v>35.184858033628053</c:v>
                </c:pt>
                <c:pt idx="29">
                  <c:v>33.038837288866745</c:v>
                </c:pt>
                <c:pt idx="30">
                  <c:v>31.019705659784456</c:v>
                </c:pt>
                <c:pt idx="31">
                  <c:v>29.135609603490497</c:v>
                </c:pt>
                <c:pt idx="32">
                  <c:v>27.365181805647403</c:v>
                </c:pt>
                <c:pt idx="33">
                  <c:v>25.69923791226077</c:v>
                </c:pt>
                <c:pt idx="34">
                  <c:v>24.13024674904668</c:v>
                </c:pt>
                <c:pt idx="35">
                  <c:v>22.652264353416317</c:v>
                </c:pt>
                <c:pt idx="36">
                  <c:v>21.261665423965848</c:v>
                </c:pt>
                <c:pt idx="37">
                  <c:v>19.954691578494536</c:v>
                </c:pt>
                <c:pt idx="38">
                  <c:v>18.819548793034226</c:v>
                </c:pt>
                <c:pt idx="39">
                  <c:v>17.816642941711503</c:v>
                </c:pt>
                <c:pt idx="40">
                  <c:v>16.912783032712529</c:v>
                </c:pt>
                <c:pt idx="41">
                  <c:v>16.089820422627351</c:v>
                </c:pt>
                <c:pt idx="42">
                  <c:v>15.337734645254734</c:v>
                </c:pt>
                <c:pt idx="43">
                  <c:v>14.652475634218046</c:v>
                </c:pt>
                <c:pt idx="44">
                  <c:v>14.030447159788743</c:v>
                </c:pt>
                <c:pt idx="45">
                  <c:v>13.46507998684514</c:v>
                </c:pt>
                <c:pt idx="46">
                  <c:v>12.947182973318787</c:v>
                </c:pt>
                <c:pt idx="47">
                  <c:v>12.468676278398018</c:v>
                </c:pt>
                <c:pt idx="48">
                  <c:v>12.022401535786683</c:v>
                </c:pt>
                <c:pt idx="49">
                  <c:v>11.602330694788099</c:v>
                </c:pt>
                <c:pt idx="50">
                  <c:v>11.203243094763653</c:v>
                </c:pt>
                <c:pt idx="51">
                  <c:v>10.821352512009637</c:v>
                </c:pt>
                <c:pt idx="52">
                  <c:v>10.453636157548454</c:v>
                </c:pt>
                <c:pt idx="53">
                  <c:v>10.097862910362068</c:v>
                </c:pt>
                <c:pt idx="54">
                  <c:v>9.7524000087844218</c:v>
                </c:pt>
                <c:pt idx="55">
                  <c:v>9.4158802562710946</c:v>
                </c:pt>
                <c:pt idx="56">
                  <c:v>9.0874037814845092</c:v>
                </c:pt>
                <c:pt idx="57">
                  <c:v>8.7662919563495834</c:v>
                </c:pt>
                <c:pt idx="58">
                  <c:v>8.4521519662632354</c:v>
                </c:pt>
                <c:pt idx="59">
                  <c:v>8.1446065806119154</c:v>
                </c:pt>
                <c:pt idx="60">
                  <c:v>7.843378939272414</c:v>
                </c:pt>
                <c:pt idx="61">
                  <c:v>7.5483303001406155</c:v>
                </c:pt>
                <c:pt idx="62">
                  <c:v>7.2593913273476485</c:v>
                </c:pt>
                <c:pt idx="63">
                  <c:v>6.9765810485962545</c:v>
                </c:pt>
                <c:pt idx="64">
                  <c:v>6.6998481245276453</c:v>
                </c:pt>
                <c:pt idx="65">
                  <c:v>6.4292372469121286</c:v>
                </c:pt>
                <c:pt idx="66">
                  <c:v>6.1648093800516017</c:v>
                </c:pt>
                <c:pt idx="67">
                  <c:v>5.9066035092806928</c:v>
                </c:pt>
                <c:pt idx="68">
                  <c:v>5.6546837166480035</c:v>
                </c:pt>
                <c:pt idx="69">
                  <c:v>5.4081890763998732</c:v>
                </c:pt>
                <c:pt idx="70">
                  <c:v>5.1670145310298885</c:v>
                </c:pt>
                <c:pt idx="71">
                  <c:v>4.9305399134739751</c:v>
                </c:pt>
                <c:pt idx="72">
                  <c:v>4.6981872883666975</c:v>
                </c:pt>
                <c:pt idx="73">
                  <c:v>4.4695375191179938</c:v>
                </c:pt>
                <c:pt idx="74">
                  <c:v>4.2443276760706512</c:v>
                </c:pt>
                <c:pt idx="75">
                  <c:v>4.0225841783060163</c:v>
                </c:pt>
                <c:pt idx="76">
                  <c:v>3.8045235841606324</c:v>
                </c:pt>
                <c:pt idx="77">
                  <c:v>3.59066527483516</c:v>
                </c:pt>
                <c:pt idx="78">
                  <c:v>3.3816510520857084</c:v>
                </c:pt>
                <c:pt idx="79">
                  <c:v>3.178181963545935</c:v>
                </c:pt>
                <c:pt idx="80">
                  <c:v>2.9808504314010729</c:v>
                </c:pt>
                <c:pt idx="81">
                  <c:v>2.7903086337445351</c:v>
                </c:pt>
                <c:pt idx="82">
                  <c:v>2.6070380321043984</c:v>
                </c:pt>
                <c:pt idx="83">
                  <c:v>2.4313898988316267</c:v>
                </c:pt>
                <c:pt idx="84">
                  <c:v>2.2636513806029877</c:v>
                </c:pt>
                <c:pt idx="85">
                  <c:v>2.1040161013303615</c:v>
                </c:pt>
                <c:pt idx="86">
                  <c:v>1.9525823617868756</c:v>
                </c:pt>
                <c:pt idx="87">
                  <c:v>1.8093324421366135</c:v>
                </c:pt>
                <c:pt idx="88">
                  <c:v>1.6741972068289905</c:v>
                </c:pt>
                <c:pt idx="89">
                  <c:v>1.547038250997065</c:v>
                </c:pt>
                <c:pt idx="90">
                  <c:v>1.4276821612293262</c:v>
                </c:pt>
                <c:pt idx="91">
                  <c:v>1.3159147341215114</c:v>
                </c:pt>
                <c:pt idx="92">
                  <c:v>1.2114810273466394</c:v>
                </c:pt>
                <c:pt idx="93">
                  <c:v>1.1141258467243274</c:v>
                </c:pt>
                <c:pt idx="94">
                  <c:v>1.0235482310466566</c:v>
                </c:pt>
                <c:pt idx="95">
                  <c:v>0.93943390920031555</c:v>
                </c:pt>
                <c:pt idx="96">
                  <c:v>0.86144964109816025</c:v>
                </c:pt>
                <c:pt idx="97">
                  <c:v>0.78925752721387155</c:v>
                </c:pt>
                <c:pt idx="98">
                  <c:v>0.72252599829727104</c:v>
                </c:pt>
                <c:pt idx="99">
                  <c:v>0.6609270644982238</c:v>
                </c:pt>
                <c:pt idx="100">
                  <c:v>0.60409835510654997</c:v>
                </c:pt>
                <c:pt idx="101">
                  <c:v>0.55170470142103134</c:v>
                </c:pt>
                <c:pt idx="102">
                  <c:v>0.50343599077314671</c:v>
                </c:pt>
                <c:pt idx="103">
                  <c:v>0.45900729866177914</c:v>
                </c:pt>
                <c:pt idx="104">
                  <c:v>0.41815134354297057</c:v>
                </c:pt>
                <c:pt idx="105">
                  <c:v>0.38061143138082532</c:v>
                </c:pt>
                <c:pt idx="106">
                  <c:v>1.2096781576222666</c:v>
                </c:pt>
                <c:pt idx="107">
                  <c:v>2.11394884219066</c:v>
                </c:pt>
                <c:pt idx="108">
                  <c:v>3.0866060025785655</c:v>
                </c:pt>
                <c:pt idx="109">
                  <c:v>4.1196380322464146</c:v>
                </c:pt>
                <c:pt idx="110">
                  <c:v>5.2050227829036997</c:v>
                </c:pt>
                <c:pt idx="111">
                  <c:v>6.4075634193778326</c:v>
                </c:pt>
                <c:pt idx="112">
                  <c:v>7.7064149535161901</c:v>
                </c:pt>
                <c:pt idx="113">
                  <c:v>9.0731561750194984</c:v>
                </c:pt>
                <c:pt idx="114">
                  <c:v>10.488112699317629</c:v>
                </c:pt>
                <c:pt idx="115">
                  <c:v>11.938476340654841</c:v>
                </c:pt>
                <c:pt idx="116">
                  <c:v>13.416516741837746</c:v>
                </c:pt>
                <c:pt idx="117">
                  <c:v>14.918854137643248</c:v>
                </c:pt>
                <c:pt idx="118">
                  <c:v>16.44419250368891</c:v>
                </c:pt>
                <c:pt idx="119">
                  <c:v>17.992816964985142</c:v>
                </c:pt>
                <c:pt idx="120">
                  <c:v>19.566532713823218</c:v>
                </c:pt>
                <c:pt idx="121">
                  <c:v>21.1677057086868</c:v>
                </c:pt>
                <c:pt idx="122">
                  <c:v>22.798762180241869</c:v>
                </c:pt>
                <c:pt idx="123">
                  <c:v>24.462602903261502</c:v>
                </c:pt>
                <c:pt idx="124">
                  <c:v>26.162727422856758</c:v>
                </c:pt>
                <c:pt idx="125">
                  <c:v>27.902978361676265</c:v>
                </c:pt>
                <c:pt idx="126">
                  <c:v>29.687136288721415</c:v>
                </c:pt>
                <c:pt idx="127">
                  <c:v>31.51901546974003</c:v>
                </c:pt>
                <c:pt idx="128">
                  <c:v>33.402748713098347</c:v>
                </c:pt>
                <c:pt idx="129">
                  <c:v>35.342358096319096</c:v>
                </c:pt>
                <c:pt idx="130">
                  <c:v>37.342000685101127</c:v>
                </c:pt>
                <c:pt idx="131">
                  <c:v>39.405663486893474</c:v>
                </c:pt>
                <c:pt idx="132">
                  <c:v>41.53739874668743</c:v>
                </c:pt>
                <c:pt idx="133">
                  <c:v>43.741272245751404</c:v>
                </c:pt>
                <c:pt idx="134">
                  <c:v>46.02133765035498</c:v>
                </c:pt>
                <c:pt idx="135">
                  <c:v>48.381704812222104</c:v>
                </c:pt>
                <c:pt idx="136">
                  <c:v>50.826404947070493</c:v>
                </c:pt>
                <c:pt idx="137">
                  <c:v>53.359540467205122</c:v>
                </c:pt>
                <c:pt idx="138">
                  <c:v>55.985238491114856</c:v>
                </c:pt>
                <c:pt idx="139">
                  <c:v>58.707677951415576</c:v>
                </c:pt>
                <c:pt idx="140">
                  <c:v>61.531128578827719</c:v>
                </c:pt>
                <c:pt idx="141">
                  <c:v>64.459925560396371</c:v>
                </c:pt>
                <c:pt idx="142">
                  <c:v>67.498429697880425</c:v>
                </c:pt>
                <c:pt idx="143">
                  <c:v>70.651094667689122</c:v>
                </c:pt>
                <c:pt idx="144">
                  <c:v>73.922474420854513</c:v>
                </c:pt>
                <c:pt idx="145">
                  <c:v>77.317229184962358</c:v>
                </c:pt>
                <c:pt idx="146">
                  <c:v>80.840131006600018</c:v>
                </c:pt>
                <c:pt idx="147">
                  <c:v>84.496069073789428</c:v>
                </c:pt>
                <c:pt idx="148">
                  <c:v>88.290054820612667</c:v>
                </c:pt>
                <c:pt idx="149">
                  <c:v>92.227226750892541</c:v>
                </c:pt>
                <c:pt idx="150">
                  <c:v>96.312854919973077</c:v>
                </c:pt>
                <c:pt idx="151">
                  <c:v>100.55234502455259</c:v>
                </c:pt>
                <c:pt idx="152">
                  <c:v>104.95124206623939</c:v>
                </c:pt>
                <c:pt idx="153">
                  <c:v>109.51523356416834</c:v>
                </c:pt>
                <c:pt idx="154">
                  <c:v>114.25015229588981</c:v>
                </c:pt>
                <c:pt idx="155">
                  <c:v>119.16197854911213</c:v>
                </c:pt>
                <c:pt idx="156">
                  <c:v>124.256841864195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F$2:$F$158</c:f>
              <c:numCache>
                <c:formatCode>General</c:formatCode>
                <c:ptCount val="157"/>
                <c:pt idx="0">
                  <c:v>197.37176117405326</c:v>
                </c:pt>
                <c:pt idx="1">
                  <c:v>185.14084426704912</c:v>
                </c:pt>
                <c:pt idx="2">
                  <c:v>177.61019697378626</c:v>
                </c:pt>
                <c:pt idx="3">
                  <c:v>169.18427515658644</c:v>
                </c:pt>
                <c:pt idx="4">
                  <c:v>160.20861098342189</c:v>
                </c:pt>
                <c:pt idx="5">
                  <c:v>151.09874868848689</c:v>
                </c:pt>
                <c:pt idx="6">
                  <c:v>141.43401567520209</c:v>
                </c:pt>
                <c:pt idx="7">
                  <c:v>131.75819782226895</c:v>
                </c:pt>
                <c:pt idx="8">
                  <c:v>123.1545042610922</c:v>
                </c:pt>
                <c:pt idx="9">
                  <c:v>115.36405129587926</c:v>
                </c:pt>
                <c:pt idx="10">
                  <c:v>108.1369932623421</c:v>
                </c:pt>
                <c:pt idx="11">
                  <c:v>101.51445156737505</c:v>
                </c:pt>
                <c:pt idx="12">
                  <c:v>95.437970742670217</c:v>
                </c:pt>
                <c:pt idx="13">
                  <c:v>89.594063499245891</c:v>
                </c:pt>
                <c:pt idx="14">
                  <c:v>84.104538928839474</c:v>
                </c:pt>
                <c:pt idx="15">
                  <c:v>79.049880044172568</c:v>
                </c:pt>
                <c:pt idx="16">
                  <c:v>74.351837911710476</c:v>
                </c:pt>
                <c:pt idx="17">
                  <c:v>69.882749437621058</c:v>
                </c:pt>
                <c:pt idx="18">
                  <c:v>65.719645260449013</c:v>
                </c:pt>
                <c:pt idx="19">
                  <c:v>61.795747563487431</c:v>
                </c:pt>
                <c:pt idx="20">
                  <c:v>58.062358939914951</c:v>
                </c:pt>
                <c:pt idx="21">
                  <c:v>54.517453671631444</c:v>
                </c:pt>
                <c:pt idx="22">
                  <c:v>51.184671694253666</c:v>
                </c:pt>
                <c:pt idx="23">
                  <c:v>48.08300970904844</c:v>
                </c:pt>
                <c:pt idx="24">
                  <c:v>45.182848916268824</c:v>
                </c:pt>
                <c:pt idx="25">
                  <c:v>42.476789294323915</c:v>
                </c:pt>
                <c:pt idx="26">
                  <c:v>39.902282900800088</c:v>
                </c:pt>
                <c:pt idx="27">
                  <c:v>37.468307828113581</c:v>
                </c:pt>
                <c:pt idx="28">
                  <c:v>35.184858033628053</c:v>
                </c:pt>
                <c:pt idx="29">
                  <c:v>33.038837288866745</c:v>
                </c:pt>
                <c:pt idx="30">
                  <c:v>31.019705659784456</c:v>
                </c:pt>
                <c:pt idx="31">
                  <c:v>29.135609603490497</c:v>
                </c:pt>
                <c:pt idx="32">
                  <c:v>27.365181805647403</c:v>
                </c:pt>
                <c:pt idx="33">
                  <c:v>25.69923791226077</c:v>
                </c:pt>
                <c:pt idx="34">
                  <c:v>24.13024674904668</c:v>
                </c:pt>
                <c:pt idx="35">
                  <c:v>22.652264353416317</c:v>
                </c:pt>
                <c:pt idx="36">
                  <c:v>21.261665423965848</c:v>
                </c:pt>
                <c:pt idx="37">
                  <c:v>19.954691578494536</c:v>
                </c:pt>
                <c:pt idx="38">
                  <c:v>18.819548793034226</c:v>
                </c:pt>
                <c:pt idx="39">
                  <c:v>17.816642941711503</c:v>
                </c:pt>
                <c:pt idx="40">
                  <c:v>16.912783032712529</c:v>
                </c:pt>
                <c:pt idx="41">
                  <c:v>16.089820422627351</c:v>
                </c:pt>
                <c:pt idx="42">
                  <c:v>15.337734645254734</c:v>
                </c:pt>
                <c:pt idx="43">
                  <c:v>14.652475634218046</c:v>
                </c:pt>
                <c:pt idx="44">
                  <c:v>14.030447159788743</c:v>
                </c:pt>
                <c:pt idx="45">
                  <c:v>13.46507998684514</c:v>
                </c:pt>
                <c:pt idx="46">
                  <c:v>12.947182973318787</c:v>
                </c:pt>
                <c:pt idx="47">
                  <c:v>12.468676278398018</c:v>
                </c:pt>
                <c:pt idx="48">
                  <c:v>12.022401535786683</c:v>
                </c:pt>
                <c:pt idx="49">
                  <c:v>11.602330694788099</c:v>
                </c:pt>
                <c:pt idx="50">
                  <c:v>11.203243094763653</c:v>
                </c:pt>
                <c:pt idx="51">
                  <c:v>10.821352512009637</c:v>
                </c:pt>
                <c:pt idx="52">
                  <c:v>10.453636157548454</c:v>
                </c:pt>
                <c:pt idx="53">
                  <c:v>10.097862910362068</c:v>
                </c:pt>
                <c:pt idx="54">
                  <c:v>9.7524000087844218</c:v>
                </c:pt>
                <c:pt idx="55">
                  <c:v>9.4158802562710946</c:v>
                </c:pt>
                <c:pt idx="56">
                  <c:v>9.0874037814845092</c:v>
                </c:pt>
                <c:pt idx="57">
                  <c:v>8.7662919563495834</c:v>
                </c:pt>
                <c:pt idx="58">
                  <c:v>8.4521519662632354</c:v>
                </c:pt>
                <c:pt idx="59">
                  <c:v>8.1446065806119154</c:v>
                </c:pt>
                <c:pt idx="60">
                  <c:v>7.843378939272414</c:v>
                </c:pt>
                <c:pt idx="61">
                  <c:v>7.5483303001406155</c:v>
                </c:pt>
                <c:pt idx="62">
                  <c:v>7.2593913273476485</c:v>
                </c:pt>
                <c:pt idx="63">
                  <c:v>6.9765810485962545</c:v>
                </c:pt>
                <c:pt idx="64">
                  <c:v>6.6998481245276453</c:v>
                </c:pt>
                <c:pt idx="65">
                  <c:v>6.4292372469121286</c:v>
                </c:pt>
                <c:pt idx="66">
                  <c:v>6.1648093800516017</c:v>
                </c:pt>
                <c:pt idx="67">
                  <c:v>5.9066035092806928</c:v>
                </c:pt>
                <c:pt idx="68">
                  <c:v>5.6546837166480035</c:v>
                </c:pt>
                <c:pt idx="69">
                  <c:v>5.4081890763998732</c:v>
                </c:pt>
                <c:pt idx="70">
                  <c:v>5.1670145310298885</c:v>
                </c:pt>
                <c:pt idx="71">
                  <c:v>4.9305399134739751</c:v>
                </c:pt>
                <c:pt idx="72">
                  <c:v>4.6981872883666975</c:v>
                </c:pt>
                <c:pt idx="73">
                  <c:v>4.4695375191179938</c:v>
                </c:pt>
                <c:pt idx="74">
                  <c:v>4.2443276760706512</c:v>
                </c:pt>
                <c:pt idx="75">
                  <c:v>4.0225841783060163</c:v>
                </c:pt>
                <c:pt idx="76">
                  <c:v>3.8045235841606324</c:v>
                </c:pt>
                <c:pt idx="77">
                  <c:v>3.59066527483516</c:v>
                </c:pt>
                <c:pt idx="78">
                  <c:v>3.3816510520857084</c:v>
                </c:pt>
                <c:pt idx="79">
                  <c:v>3.178181963545935</c:v>
                </c:pt>
                <c:pt idx="80">
                  <c:v>2.9808504314010729</c:v>
                </c:pt>
                <c:pt idx="81">
                  <c:v>2.7903086337445351</c:v>
                </c:pt>
                <c:pt idx="82">
                  <c:v>2.6070380321043984</c:v>
                </c:pt>
                <c:pt idx="83">
                  <c:v>2.4313898988316267</c:v>
                </c:pt>
                <c:pt idx="84">
                  <c:v>2.2636513806029877</c:v>
                </c:pt>
                <c:pt idx="85">
                  <c:v>2.1040161013303615</c:v>
                </c:pt>
                <c:pt idx="86">
                  <c:v>1.9525823617868756</c:v>
                </c:pt>
                <c:pt idx="87">
                  <c:v>1.8093324421366135</c:v>
                </c:pt>
                <c:pt idx="88">
                  <c:v>1.6741972068289905</c:v>
                </c:pt>
                <c:pt idx="89">
                  <c:v>1.547038250997065</c:v>
                </c:pt>
                <c:pt idx="90">
                  <c:v>1.4276821612293262</c:v>
                </c:pt>
                <c:pt idx="91">
                  <c:v>1.3159147341215114</c:v>
                </c:pt>
                <c:pt idx="92">
                  <c:v>1.2114810273466394</c:v>
                </c:pt>
                <c:pt idx="93">
                  <c:v>1.1141258467243274</c:v>
                </c:pt>
                <c:pt idx="94">
                  <c:v>1.0235482310466566</c:v>
                </c:pt>
                <c:pt idx="95">
                  <c:v>0.93943390920031555</c:v>
                </c:pt>
                <c:pt idx="96">
                  <c:v>0.86144964109816025</c:v>
                </c:pt>
                <c:pt idx="97">
                  <c:v>0.78925752721387155</c:v>
                </c:pt>
                <c:pt idx="98">
                  <c:v>0.72252599829727104</c:v>
                </c:pt>
                <c:pt idx="99">
                  <c:v>0.6609270644982238</c:v>
                </c:pt>
                <c:pt idx="100">
                  <c:v>0.60409835510654997</c:v>
                </c:pt>
                <c:pt idx="101">
                  <c:v>0.55170470142103134</c:v>
                </c:pt>
                <c:pt idx="102">
                  <c:v>0.50343599077314671</c:v>
                </c:pt>
                <c:pt idx="103">
                  <c:v>0.45900729866177914</c:v>
                </c:pt>
                <c:pt idx="104">
                  <c:v>0.41815134354297057</c:v>
                </c:pt>
                <c:pt idx="105">
                  <c:v>0.38061143138082532</c:v>
                </c:pt>
                <c:pt idx="106">
                  <c:v>0.58826275047948418</c:v>
                </c:pt>
                <c:pt idx="107">
                  <c:v>0.81267498282585127</c:v>
                </c:pt>
                <c:pt idx="108">
                  <c:v>1.0709708789688053</c:v>
                </c:pt>
                <c:pt idx="109">
                  <c:v>1.3522876374224184</c:v>
                </c:pt>
                <c:pt idx="110">
                  <c:v>1.6441168885827979</c:v>
                </c:pt>
                <c:pt idx="111">
                  <c:v>1.9376341104540957</c:v>
                </c:pt>
                <c:pt idx="112">
                  <c:v>2.2250569849308564</c:v>
                </c:pt>
                <c:pt idx="113">
                  <c:v>2.4999937755089237</c:v>
                </c:pt>
                <c:pt idx="114">
                  <c:v>2.7567458385344112</c:v>
                </c:pt>
                <c:pt idx="115">
                  <c:v>2.9910086940250808</c:v>
                </c:pt>
                <c:pt idx="116">
                  <c:v>3.2007947391863896</c:v>
                </c:pt>
                <c:pt idx="117">
                  <c:v>3.3884927363575885</c:v>
                </c:pt>
                <c:pt idx="118">
                  <c:v>3.5570454948789889</c:v>
                </c:pt>
                <c:pt idx="119">
                  <c:v>3.7049995868034644</c:v>
                </c:pt>
                <c:pt idx="120">
                  <c:v>3.8309100716175495</c:v>
                </c:pt>
                <c:pt idx="121">
                  <c:v>3.9337683709779272</c:v>
                </c:pt>
                <c:pt idx="122">
                  <c:v>4.0136915628133325</c:v>
                </c:pt>
                <c:pt idx="123">
                  <c:v>4.07184140032376</c:v>
                </c:pt>
                <c:pt idx="124">
                  <c:v>4.1115870866666997</c:v>
                </c:pt>
                <c:pt idx="125">
                  <c:v>4.1359246778044367</c:v>
                </c:pt>
                <c:pt idx="126">
                  <c:v>4.1439522327015625</c:v>
                </c:pt>
                <c:pt idx="127">
                  <c:v>4.1346817867922114</c:v>
                </c:pt>
                <c:pt idx="128">
                  <c:v>4.10821371380342</c:v>
                </c:pt>
                <c:pt idx="129">
                  <c:v>4.0652217113853881</c:v>
                </c:pt>
                <c:pt idx="130">
                  <c:v>4.0068521783429647</c:v>
                </c:pt>
                <c:pt idx="131">
                  <c:v>3.9350913626000734</c:v>
                </c:pt>
                <c:pt idx="132">
                  <c:v>3.8515483766420262</c:v>
                </c:pt>
                <c:pt idx="133">
                  <c:v>3.7562369793337753</c:v>
                </c:pt>
                <c:pt idx="134">
                  <c:v>3.649034345351251</c:v>
                </c:pt>
                <c:pt idx="135">
                  <c:v>3.5300290359625111</c:v>
                </c:pt>
                <c:pt idx="136">
                  <c:v>3.3996018075010257</c:v>
                </c:pt>
                <c:pt idx="137">
                  <c:v>3.2586495610336756</c:v>
                </c:pt>
                <c:pt idx="138">
                  <c:v>3.1084480895985367</c:v>
                </c:pt>
                <c:pt idx="139">
                  <c:v>2.9496538869022375</c:v>
                </c:pt>
                <c:pt idx="140">
                  <c:v>2.7822887674007548</c:v>
                </c:pt>
                <c:pt idx="141">
                  <c:v>2.60624206220717</c:v>
                </c:pt>
                <c:pt idx="142">
                  <c:v>2.4213815102445411</c:v>
                </c:pt>
                <c:pt idx="143">
                  <c:v>2.2277375564478321</c:v>
                </c:pt>
                <c:pt idx="144">
                  <c:v>2.0256777438950708</c:v>
                </c:pt>
                <c:pt idx="145">
                  <c:v>1.8160728570689431</c:v>
                </c:pt>
                <c:pt idx="146">
                  <c:v>1.5995921345344728</c:v>
                </c:pt>
                <c:pt idx="147">
                  <c:v>1.3762507641255839</c:v>
                </c:pt>
                <c:pt idx="148">
                  <c:v>1.1460688202384377</c:v>
                </c:pt>
                <c:pt idx="149">
                  <c:v>0.90929409317658116</c:v>
                </c:pt>
                <c:pt idx="150">
                  <c:v>0.66585419481606056</c:v>
                </c:pt>
                <c:pt idx="151">
                  <c:v>0.41597409031572585</c:v>
                </c:pt>
                <c:pt idx="152">
                  <c:v>0.1601847801682057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3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190384532955511E-2"/>
          <c:y val="1.7338673528478215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2:$S$2</c:f>
              <c:numCache>
                <c:formatCode>General</c:formatCode>
                <c:ptCount val="18"/>
                <c:pt idx="0">
                  <c:v>4.0999999999999996</c:v>
                </c:pt>
                <c:pt idx="1">
                  <c:v>5.4</c:v>
                </c:pt>
                <c:pt idx="2">
                  <c:v>6</c:v>
                </c:pt>
                <c:pt idx="3">
                  <c:v>16.3</c:v>
                </c:pt>
                <c:pt idx="4">
                  <c:v>12.9</c:v>
                </c:pt>
                <c:pt idx="5">
                  <c:v>8</c:v>
                </c:pt>
                <c:pt idx="6">
                  <c:v>8.9</c:v>
                </c:pt>
                <c:pt idx="7">
                  <c:v>13.4</c:v>
                </c:pt>
                <c:pt idx="8">
                  <c:v>14.6</c:v>
                </c:pt>
                <c:pt idx="9">
                  <c:v>15</c:v>
                </c:pt>
                <c:pt idx="10">
                  <c:v>17.100000000000001</c:v>
                </c:pt>
                <c:pt idx="11">
                  <c:v>19.100000000000001</c:v>
                </c:pt>
                <c:pt idx="12">
                  <c:v>25.7</c:v>
                </c:pt>
                <c:pt idx="13">
                  <c:v>41.1</c:v>
                </c:pt>
                <c:pt idx="14">
                  <c:v>82.8</c:v>
                </c:pt>
                <c:pt idx="15">
                  <c:v>136.9</c:v>
                </c:pt>
                <c:pt idx="16">
                  <c:v>167</c:v>
                </c:pt>
                <c:pt idx="17">
                  <c:v>206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3:$S$3</c:f>
              <c:numCache>
                <c:formatCode>General</c:formatCode>
                <c:ptCount val="18"/>
                <c:pt idx="0">
                  <c:v>23.1</c:v>
                </c:pt>
                <c:pt idx="1">
                  <c:v>12.1</c:v>
                </c:pt>
                <c:pt idx="2">
                  <c:v>8.3000000000000007</c:v>
                </c:pt>
                <c:pt idx="3">
                  <c:v>6.1</c:v>
                </c:pt>
                <c:pt idx="4">
                  <c:v>7.6</c:v>
                </c:pt>
                <c:pt idx="5">
                  <c:v>11.4</c:v>
                </c:pt>
                <c:pt idx="6">
                  <c:v>13.4</c:v>
                </c:pt>
                <c:pt idx="7">
                  <c:v>11.9</c:v>
                </c:pt>
                <c:pt idx="8">
                  <c:v>8.9</c:v>
                </c:pt>
                <c:pt idx="9">
                  <c:v>9.9</c:v>
                </c:pt>
                <c:pt idx="10">
                  <c:v>11.6</c:v>
                </c:pt>
                <c:pt idx="11">
                  <c:v>13.2</c:v>
                </c:pt>
                <c:pt idx="12">
                  <c:v>13.2</c:v>
                </c:pt>
                <c:pt idx="13">
                  <c:v>18.399999999999999</c:v>
                </c:pt>
                <c:pt idx="14">
                  <c:v>24.5</c:v>
                </c:pt>
                <c:pt idx="15">
                  <c:v>29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2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190384532955511E-2"/>
          <c:y val="1.7338673528478215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2:$S$2</c:f>
              <c:numCache>
                <c:formatCode>General</c:formatCode>
                <c:ptCount val="18"/>
                <c:pt idx="0">
                  <c:v>3.6</c:v>
                </c:pt>
                <c:pt idx="1">
                  <c:v>5</c:v>
                </c:pt>
                <c:pt idx="2">
                  <c:v>5.0999999999999996</c:v>
                </c:pt>
                <c:pt idx="3">
                  <c:v>16.3</c:v>
                </c:pt>
                <c:pt idx="4">
                  <c:v>11.5</c:v>
                </c:pt>
                <c:pt idx="5">
                  <c:v>7.2</c:v>
                </c:pt>
                <c:pt idx="6">
                  <c:v>6.8</c:v>
                </c:pt>
                <c:pt idx="7">
                  <c:v>10.6</c:v>
                </c:pt>
                <c:pt idx="8">
                  <c:v>10.199999999999999</c:v>
                </c:pt>
                <c:pt idx="9">
                  <c:v>11.8</c:v>
                </c:pt>
                <c:pt idx="10">
                  <c:v>13.1</c:v>
                </c:pt>
                <c:pt idx="11">
                  <c:v>14.5</c:v>
                </c:pt>
                <c:pt idx="12">
                  <c:v>18.600000000000001</c:v>
                </c:pt>
                <c:pt idx="13">
                  <c:v>31.8</c:v>
                </c:pt>
                <c:pt idx="14">
                  <c:v>63</c:v>
                </c:pt>
                <c:pt idx="15">
                  <c:v>98.5</c:v>
                </c:pt>
                <c:pt idx="16">
                  <c:v>128.69999999999999</c:v>
                </c:pt>
                <c:pt idx="17">
                  <c:v>172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8EE-4CBC-9AF1-4D99DC429A54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3:$S$3</c:f>
              <c:numCache>
                <c:formatCode>General</c:formatCode>
                <c:ptCount val="18"/>
                <c:pt idx="0">
                  <c:v>14.5</c:v>
                </c:pt>
                <c:pt idx="1">
                  <c:v>9.3000000000000007</c:v>
                </c:pt>
                <c:pt idx="2">
                  <c:v>5.4</c:v>
                </c:pt>
                <c:pt idx="3">
                  <c:v>3.1</c:v>
                </c:pt>
                <c:pt idx="4">
                  <c:v>3.6</c:v>
                </c:pt>
                <c:pt idx="5">
                  <c:v>6.2</c:v>
                </c:pt>
                <c:pt idx="6">
                  <c:v>7.4</c:v>
                </c:pt>
                <c:pt idx="7">
                  <c:v>5.5</c:v>
                </c:pt>
                <c:pt idx="8">
                  <c:v>5.5</c:v>
                </c:pt>
                <c:pt idx="9">
                  <c:v>4.7</c:v>
                </c:pt>
                <c:pt idx="10">
                  <c:v>5.3</c:v>
                </c:pt>
                <c:pt idx="11">
                  <c:v>7.1</c:v>
                </c:pt>
                <c:pt idx="12">
                  <c:v>7.9</c:v>
                </c:pt>
                <c:pt idx="13">
                  <c:v>10.9</c:v>
                </c:pt>
                <c:pt idx="14">
                  <c:v>15.2</c:v>
                </c:pt>
                <c:pt idx="15">
                  <c:v>16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8EE-4CBC-9AF1-4D99DC429A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25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190384532955511E-2"/>
          <c:y val="1.7338673528478215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2:$S$2</c:f>
              <c:numCache>
                <c:formatCode>0.0</c:formatCode>
                <c:ptCount val="18"/>
                <c:pt idx="0">
                  <c:v>2.3088372911850001</c:v>
                </c:pt>
                <c:pt idx="1">
                  <c:v>1.51517447234</c:v>
                </c:pt>
                <c:pt idx="2">
                  <c:v>2.1645349604859998</c:v>
                </c:pt>
                <c:pt idx="3">
                  <c:v>2.092383795136</c:v>
                </c:pt>
                <c:pt idx="4">
                  <c:v>2.7417442832819998</c:v>
                </c:pt>
                <c:pt idx="5">
                  <c:v>2.9581977793309999</c:v>
                </c:pt>
                <c:pt idx="6">
                  <c:v>3.2468024407290001</c:v>
                </c:pt>
                <c:pt idx="7">
                  <c:v>6.1328490547110004</c:v>
                </c:pt>
                <c:pt idx="8">
                  <c:v>5.3391862358660003</c:v>
                </c:pt>
                <c:pt idx="9">
                  <c:v>6.710058377507</c:v>
                </c:pt>
                <c:pt idx="10">
                  <c:v>6.0606978893610002</c:v>
                </c:pt>
                <c:pt idx="11">
                  <c:v>9.7404073221880001</c:v>
                </c:pt>
                <c:pt idx="12">
                  <c:v>12.482151605471</c:v>
                </c:pt>
                <c:pt idx="13">
                  <c:v>17.099826187842002</c:v>
                </c:pt>
                <c:pt idx="14">
                  <c:v>33.622443052888002</c:v>
                </c:pt>
                <c:pt idx="15">
                  <c:v>50.866571571430001</c:v>
                </c:pt>
                <c:pt idx="16">
                  <c:v>71.501804861400998</c:v>
                </c:pt>
                <c:pt idx="17">
                  <c:v>106.8558758826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10-42B4-976E-33BD47C06A80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3:$S$3</c:f>
              <c:numCache>
                <c:formatCode>0.0</c:formatCode>
                <c:ptCount val="18"/>
                <c:pt idx="0">
                  <c:v>8.8024421726439996</c:v>
                </c:pt>
                <c:pt idx="1">
                  <c:v>4.0404652595739998</c:v>
                </c:pt>
                <c:pt idx="2">
                  <c:v>3.03034894468</c:v>
                </c:pt>
                <c:pt idx="3">
                  <c:v>1.58732563769</c:v>
                </c:pt>
                <c:pt idx="4">
                  <c:v>1.0101163148929999</c:v>
                </c:pt>
                <c:pt idx="5">
                  <c:v>2.6695931179330001</c:v>
                </c:pt>
                <c:pt idx="6">
                  <c:v>2.813895448632</c:v>
                </c:pt>
                <c:pt idx="7">
                  <c:v>2.5974419525829999</c:v>
                </c:pt>
                <c:pt idx="8">
                  <c:v>2.3809884565349999</c:v>
                </c:pt>
                <c:pt idx="9">
                  <c:v>2.813895448632</c:v>
                </c:pt>
                <c:pt idx="10">
                  <c:v>2.9581977793309999</c:v>
                </c:pt>
                <c:pt idx="11">
                  <c:v>3.17465127538</c:v>
                </c:pt>
                <c:pt idx="12">
                  <c:v>3.6075582674770001</c:v>
                </c:pt>
                <c:pt idx="13">
                  <c:v>5.1227327398169997</c:v>
                </c:pt>
                <c:pt idx="14">
                  <c:v>8.4416863458970006</c:v>
                </c:pt>
                <c:pt idx="15">
                  <c:v>9.812558487538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10-42B4-976E-33BD47C06A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25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190384532955511E-2"/>
          <c:y val="1.7338673528478215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2:$S$2</c:f>
              <c:numCache>
                <c:formatCode>0.0</c:formatCode>
                <c:ptCount val="18"/>
                <c:pt idx="0">
                  <c:v>3.754808420611</c:v>
                </c:pt>
                <c:pt idx="1">
                  <c:v>3.1074276584359999</c:v>
                </c:pt>
                <c:pt idx="2">
                  <c:v>6.0853791644379998</c:v>
                </c:pt>
                <c:pt idx="3">
                  <c:v>2.8484753535670002</c:v>
                </c:pt>
                <c:pt idx="4">
                  <c:v>3.1074276584359999</c:v>
                </c:pt>
                <c:pt idx="5">
                  <c:v>2.071618438957</c:v>
                </c:pt>
                <c:pt idx="6">
                  <c:v>3.4958561157410002</c:v>
                </c:pt>
                <c:pt idx="7">
                  <c:v>12.688662938616</c:v>
                </c:pt>
                <c:pt idx="8">
                  <c:v>7.1211883839169996</c:v>
                </c:pt>
                <c:pt idx="9">
                  <c:v>10.228616042354</c:v>
                </c:pt>
                <c:pt idx="10">
                  <c:v>8.9338545180050009</c:v>
                </c:pt>
                <c:pt idx="11">
                  <c:v>11.005472956963001</c:v>
                </c:pt>
                <c:pt idx="12">
                  <c:v>11.005472956963001</c:v>
                </c:pt>
                <c:pt idx="13">
                  <c:v>16.831899816532001</c:v>
                </c:pt>
                <c:pt idx="14">
                  <c:v>41.432368779156</c:v>
                </c:pt>
                <c:pt idx="15">
                  <c:v>54.897888632381999</c:v>
                </c:pt>
                <c:pt idx="16">
                  <c:v>76.131977631699002</c:v>
                </c:pt>
                <c:pt idx="17">
                  <c:v>126.109772471556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51-466D-89AE-D0A7CB1C8A0E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3:$S$3</c:f>
              <c:numCache>
                <c:formatCode>0.0</c:formatCode>
                <c:ptCount val="18"/>
                <c:pt idx="0">
                  <c:v>8.5454260607010006</c:v>
                </c:pt>
                <c:pt idx="1">
                  <c:v>5.8264268595680004</c:v>
                </c:pt>
                <c:pt idx="2">
                  <c:v>5.4379984022640002</c:v>
                </c:pt>
                <c:pt idx="3">
                  <c:v>2.589523048697</c:v>
                </c:pt>
                <c:pt idx="4">
                  <c:v>2.071618438957</c:v>
                </c:pt>
                <c:pt idx="5">
                  <c:v>2.2010945913920001</c:v>
                </c:pt>
                <c:pt idx="6">
                  <c:v>2.8484753535670002</c:v>
                </c:pt>
                <c:pt idx="7">
                  <c:v>2.4600468962619999</c:v>
                </c:pt>
                <c:pt idx="8">
                  <c:v>2.3305707438269998</c:v>
                </c:pt>
                <c:pt idx="9">
                  <c:v>1.683189981653</c:v>
                </c:pt>
                <c:pt idx="10">
                  <c:v>2.3305707438269998</c:v>
                </c:pt>
                <c:pt idx="11">
                  <c:v>2.7189992011320001</c:v>
                </c:pt>
                <c:pt idx="12">
                  <c:v>3.6253322681759999</c:v>
                </c:pt>
                <c:pt idx="13">
                  <c:v>8.9338545180050009</c:v>
                </c:pt>
                <c:pt idx="14">
                  <c:v>8.1569976033960003</c:v>
                </c:pt>
                <c:pt idx="15">
                  <c:v>12.3002344813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51-466D-89AE-D0A7CB1C8A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25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List1!$B$1:$DT$1</c:f>
              <c:numCache>
                <c:formatCode>d/m;@</c:formatCode>
                <c:ptCount val="123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</c:numCache>
            </c:numRef>
          </c:cat>
          <c:val>
            <c:numRef>
              <c:f>List1!$B$2:$DT$2</c:f>
              <c:numCache>
                <c:formatCode>General</c:formatCode>
                <c:ptCount val="123"/>
                <c:pt idx="0">
                  <c:v>34</c:v>
                </c:pt>
                <c:pt idx="1">
                  <c:v>63</c:v>
                </c:pt>
                <c:pt idx="2">
                  <c:v>74</c:v>
                </c:pt>
                <c:pt idx="3">
                  <c:v>61</c:v>
                </c:pt>
                <c:pt idx="4">
                  <c:v>35</c:v>
                </c:pt>
                <c:pt idx="5">
                  <c:v>38</c:v>
                </c:pt>
                <c:pt idx="6">
                  <c:v>61</c:v>
                </c:pt>
                <c:pt idx="7">
                  <c:v>69</c:v>
                </c:pt>
                <c:pt idx="8">
                  <c:v>55</c:v>
                </c:pt>
                <c:pt idx="9">
                  <c:v>73</c:v>
                </c:pt>
                <c:pt idx="10">
                  <c:v>64</c:v>
                </c:pt>
                <c:pt idx="11">
                  <c:v>52</c:v>
                </c:pt>
                <c:pt idx="12">
                  <c:v>53</c:v>
                </c:pt>
                <c:pt idx="13">
                  <c:v>33</c:v>
                </c:pt>
                <c:pt idx="14">
                  <c:v>40</c:v>
                </c:pt>
                <c:pt idx="15">
                  <c:v>47</c:v>
                </c:pt>
                <c:pt idx="16">
                  <c:v>51</c:v>
                </c:pt>
                <c:pt idx="17">
                  <c:v>118</c:v>
                </c:pt>
                <c:pt idx="18">
                  <c:v>126</c:v>
                </c:pt>
                <c:pt idx="19">
                  <c:v>42</c:v>
                </c:pt>
                <c:pt idx="20">
                  <c:v>50</c:v>
                </c:pt>
                <c:pt idx="21">
                  <c:v>64</c:v>
                </c:pt>
                <c:pt idx="22">
                  <c:v>89</c:v>
                </c:pt>
                <c:pt idx="23">
                  <c:v>127</c:v>
                </c:pt>
                <c:pt idx="24">
                  <c:v>93</c:v>
                </c:pt>
                <c:pt idx="25">
                  <c:v>168</c:v>
                </c:pt>
                <c:pt idx="26">
                  <c:v>260</c:v>
                </c:pt>
                <c:pt idx="27">
                  <c:v>305</c:v>
                </c:pt>
                <c:pt idx="28">
                  <c:v>201</c:v>
                </c:pt>
                <c:pt idx="29">
                  <c:v>149</c:v>
                </c:pt>
                <c:pt idx="30">
                  <c:v>91</c:v>
                </c:pt>
                <c:pt idx="31">
                  <c:v>132</c:v>
                </c:pt>
                <c:pt idx="32">
                  <c:v>140</c:v>
                </c:pt>
                <c:pt idx="33">
                  <c:v>121</c:v>
                </c:pt>
                <c:pt idx="34">
                  <c:v>75</c:v>
                </c:pt>
                <c:pt idx="35">
                  <c:v>51</c:v>
                </c:pt>
                <c:pt idx="36">
                  <c:v>118</c:v>
                </c:pt>
                <c:pt idx="37">
                  <c:v>129</c:v>
                </c:pt>
                <c:pt idx="38">
                  <c:v>105</c:v>
                </c:pt>
                <c:pt idx="39">
                  <c:v>141</c:v>
                </c:pt>
                <c:pt idx="40">
                  <c:v>53</c:v>
                </c:pt>
                <c:pt idx="41">
                  <c:v>59</c:v>
                </c:pt>
                <c:pt idx="42">
                  <c:v>64</c:v>
                </c:pt>
                <c:pt idx="43">
                  <c:v>104</c:v>
                </c:pt>
                <c:pt idx="44">
                  <c:v>134</c:v>
                </c:pt>
                <c:pt idx="45">
                  <c:v>137</c:v>
                </c:pt>
                <c:pt idx="46">
                  <c:v>128</c:v>
                </c:pt>
                <c:pt idx="47">
                  <c:v>112</c:v>
                </c:pt>
                <c:pt idx="48">
                  <c:v>91</c:v>
                </c:pt>
                <c:pt idx="49">
                  <c:v>168</c:v>
                </c:pt>
                <c:pt idx="50">
                  <c:v>207</c:v>
                </c:pt>
                <c:pt idx="51">
                  <c:v>245</c:v>
                </c:pt>
                <c:pt idx="52">
                  <c:v>231</c:v>
                </c:pt>
                <c:pt idx="53">
                  <c:v>278</c:v>
                </c:pt>
                <c:pt idx="54">
                  <c:v>132</c:v>
                </c:pt>
                <c:pt idx="55">
                  <c:v>114</c:v>
                </c:pt>
                <c:pt idx="56">
                  <c:v>194</c:v>
                </c:pt>
                <c:pt idx="57">
                  <c:v>276</c:v>
                </c:pt>
                <c:pt idx="58">
                  <c:v>274</c:v>
                </c:pt>
                <c:pt idx="59">
                  <c:v>254</c:v>
                </c:pt>
                <c:pt idx="60">
                  <c:v>231</c:v>
                </c:pt>
                <c:pt idx="61">
                  <c:v>124</c:v>
                </c:pt>
                <c:pt idx="62">
                  <c:v>101</c:v>
                </c:pt>
                <c:pt idx="63">
                  <c:v>208</c:v>
                </c:pt>
                <c:pt idx="64">
                  <c:v>287</c:v>
                </c:pt>
                <c:pt idx="65">
                  <c:v>241</c:v>
                </c:pt>
                <c:pt idx="66">
                  <c:v>214</c:v>
                </c:pt>
                <c:pt idx="67">
                  <c:v>322</c:v>
                </c:pt>
                <c:pt idx="68">
                  <c:v>173</c:v>
                </c:pt>
                <c:pt idx="69">
                  <c:v>122</c:v>
                </c:pt>
                <c:pt idx="70">
                  <c:v>141</c:v>
                </c:pt>
                <c:pt idx="71">
                  <c:v>288</c:v>
                </c:pt>
                <c:pt idx="72">
                  <c:v>289</c:v>
                </c:pt>
                <c:pt idx="73">
                  <c:v>330</c:v>
                </c:pt>
                <c:pt idx="74">
                  <c:v>291</c:v>
                </c:pt>
                <c:pt idx="75">
                  <c:v>197</c:v>
                </c:pt>
                <c:pt idx="76">
                  <c:v>121</c:v>
                </c:pt>
                <c:pt idx="77">
                  <c:v>191</c:v>
                </c:pt>
                <c:pt idx="78">
                  <c:v>281</c:v>
                </c:pt>
                <c:pt idx="79">
                  <c:v>313</c:v>
                </c:pt>
                <c:pt idx="80">
                  <c:v>246</c:v>
                </c:pt>
                <c:pt idx="81">
                  <c:v>504</c:v>
                </c:pt>
                <c:pt idx="82">
                  <c:v>234</c:v>
                </c:pt>
                <c:pt idx="83">
                  <c:v>136</c:v>
                </c:pt>
                <c:pt idx="84">
                  <c:v>259</c:v>
                </c:pt>
                <c:pt idx="85">
                  <c:v>364</c:v>
                </c:pt>
                <c:pt idx="86">
                  <c:v>396</c:v>
                </c:pt>
                <c:pt idx="87">
                  <c:v>350</c:v>
                </c:pt>
                <c:pt idx="88">
                  <c:v>485</c:v>
                </c:pt>
                <c:pt idx="89">
                  <c:v>320</c:v>
                </c:pt>
                <c:pt idx="90">
                  <c:v>274</c:v>
                </c:pt>
                <c:pt idx="91">
                  <c:v>256</c:v>
                </c:pt>
                <c:pt idx="92">
                  <c:v>498</c:v>
                </c:pt>
                <c:pt idx="93">
                  <c:v>645</c:v>
                </c:pt>
                <c:pt idx="94">
                  <c:v>675</c:v>
                </c:pt>
                <c:pt idx="95">
                  <c:v>797</c:v>
                </c:pt>
                <c:pt idx="96">
                  <c:v>504</c:v>
                </c:pt>
                <c:pt idx="97">
                  <c:v>410</c:v>
                </c:pt>
                <c:pt idx="98">
                  <c:v>561</c:v>
                </c:pt>
                <c:pt idx="99">
                  <c:v>1161</c:v>
                </c:pt>
                <c:pt idx="100">
                  <c:v>1158</c:v>
                </c:pt>
                <c:pt idx="101">
                  <c:v>1383</c:v>
                </c:pt>
                <c:pt idx="102">
                  <c:v>1442</c:v>
                </c:pt>
                <c:pt idx="103">
                  <c:v>1537</c:v>
                </c:pt>
                <c:pt idx="104">
                  <c:v>791</c:v>
                </c:pt>
                <c:pt idx="105">
                  <c:v>1028</c:v>
                </c:pt>
                <c:pt idx="106">
                  <c:v>1676</c:v>
                </c:pt>
                <c:pt idx="107">
                  <c:v>2133</c:v>
                </c:pt>
                <c:pt idx="108">
                  <c:v>3124</c:v>
                </c:pt>
                <c:pt idx="109">
                  <c:v>2108</c:v>
                </c:pt>
                <c:pt idx="110">
                  <c:v>2045</c:v>
                </c:pt>
                <c:pt idx="111">
                  <c:v>984</c:v>
                </c:pt>
                <c:pt idx="112">
                  <c:v>1476</c:v>
                </c:pt>
                <c:pt idx="113">
                  <c:v>2387</c:v>
                </c:pt>
                <c:pt idx="114">
                  <c:v>2306</c:v>
                </c:pt>
                <c:pt idx="115">
                  <c:v>2906</c:v>
                </c:pt>
                <c:pt idx="116">
                  <c:v>2945</c:v>
                </c:pt>
                <c:pt idx="117">
                  <c:v>1981</c:v>
                </c:pt>
                <c:pt idx="118">
                  <c:v>1304</c:v>
                </c:pt>
                <c:pt idx="119">
                  <c:v>1284</c:v>
                </c:pt>
                <c:pt idx="120">
                  <c:v>1963</c:v>
                </c:pt>
                <c:pt idx="121">
                  <c:v>2925</c:v>
                </c:pt>
                <c:pt idx="122">
                  <c:v>35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List1!$B$1:$DT$1</c:f>
              <c:numCache>
                <c:formatCode>d/m;@</c:formatCode>
                <c:ptCount val="123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</c:numCache>
            </c:numRef>
          </c:cat>
          <c:val>
            <c:numRef>
              <c:f>List1!$B$3:$DT$3</c:f>
              <c:numCache>
                <c:formatCode>General</c:formatCode>
                <c:ptCount val="123"/>
                <c:pt idx="0">
                  <c:v>478</c:v>
                </c:pt>
                <c:pt idx="1">
                  <c:v>351</c:v>
                </c:pt>
                <c:pt idx="2">
                  <c:v>423</c:v>
                </c:pt>
                <c:pt idx="3">
                  <c:v>319</c:v>
                </c:pt>
                <c:pt idx="4">
                  <c:v>152</c:v>
                </c:pt>
                <c:pt idx="5">
                  <c:v>97</c:v>
                </c:pt>
                <c:pt idx="6">
                  <c:v>294</c:v>
                </c:pt>
                <c:pt idx="7">
                  <c:v>386</c:v>
                </c:pt>
                <c:pt idx="8">
                  <c:v>250</c:v>
                </c:pt>
                <c:pt idx="9">
                  <c:v>190</c:v>
                </c:pt>
                <c:pt idx="10">
                  <c:v>179</c:v>
                </c:pt>
                <c:pt idx="11">
                  <c:v>73</c:v>
                </c:pt>
                <c:pt idx="12">
                  <c:v>41</c:v>
                </c:pt>
                <c:pt idx="13">
                  <c:v>175</c:v>
                </c:pt>
                <c:pt idx="14">
                  <c:v>206</c:v>
                </c:pt>
                <c:pt idx="15">
                  <c:v>129</c:v>
                </c:pt>
                <c:pt idx="16">
                  <c:v>157</c:v>
                </c:pt>
                <c:pt idx="17">
                  <c:v>144</c:v>
                </c:pt>
                <c:pt idx="18">
                  <c:v>63</c:v>
                </c:pt>
                <c:pt idx="19">
                  <c:v>57</c:v>
                </c:pt>
                <c:pt idx="20">
                  <c:v>119</c:v>
                </c:pt>
                <c:pt idx="21">
                  <c:v>112</c:v>
                </c:pt>
                <c:pt idx="22">
                  <c:v>105</c:v>
                </c:pt>
                <c:pt idx="23">
                  <c:v>96</c:v>
                </c:pt>
                <c:pt idx="24">
                  <c:v>132</c:v>
                </c:pt>
                <c:pt idx="25">
                  <c:v>68</c:v>
                </c:pt>
                <c:pt idx="26">
                  <c:v>57</c:v>
                </c:pt>
                <c:pt idx="27">
                  <c:v>150</c:v>
                </c:pt>
                <c:pt idx="28">
                  <c:v>156</c:v>
                </c:pt>
                <c:pt idx="29">
                  <c:v>136</c:v>
                </c:pt>
                <c:pt idx="30">
                  <c:v>166</c:v>
                </c:pt>
                <c:pt idx="31">
                  <c:v>165</c:v>
                </c:pt>
                <c:pt idx="32">
                  <c:v>124</c:v>
                </c:pt>
                <c:pt idx="33">
                  <c:v>107</c:v>
                </c:pt>
                <c:pt idx="34">
                  <c:v>129</c:v>
                </c:pt>
                <c:pt idx="35">
                  <c:v>109</c:v>
                </c:pt>
                <c:pt idx="36">
                  <c:v>278</c:v>
                </c:pt>
                <c:pt idx="37">
                  <c:v>249</c:v>
                </c:pt>
                <c:pt idx="38">
                  <c:v>283</c:v>
                </c:pt>
                <c:pt idx="39">
                  <c:v>157</c:v>
                </c:pt>
                <c:pt idx="40">
                  <c:v>147</c:v>
                </c:pt>
                <c:pt idx="41">
                  <c:v>243</c:v>
                </c:pt>
                <c:pt idx="42">
                  <c:v>320</c:v>
                </c:pt>
                <c:pt idx="43">
                  <c:v>259</c:v>
                </c:pt>
                <c:pt idx="44">
                  <c:v>225</c:v>
                </c:pt>
                <c:pt idx="45">
                  <c:v>239</c:v>
                </c:pt>
                <c:pt idx="46">
                  <c:v>197</c:v>
                </c:pt>
                <c:pt idx="47">
                  <c:v>116</c:v>
                </c:pt>
                <c:pt idx="48">
                  <c:v>219</c:v>
                </c:pt>
                <c:pt idx="49">
                  <c:v>300</c:v>
                </c:pt>
                <c:pt idx="50">
                  <c:v>231</c:v>
                </c:pt>
                <c:pt idx="51">
                  <c:v>194</c:v>
                </c:pt>
                <c:pt idx="52">
                  <c:v>188</c:v>
                </c:pt>
                <c:pt idx="53">
                  <c:v>125</c:v>
                </c:pt>
                <c:pt idx="54">
                  <c:v>80</c:v>
                </c:pt>
                <c:pt idx="55">
                  <c:v>197</c:v>
                </c:pt>
                <c:pt idx="56">
                  <c:v>252</c:v>
                </c:pt>
                <c:pt idx="57">
                  <c:v>192</c:v>
                </c:pt>
                <c:pt idx="58">
                  <c:v>204</c:v>
                </c:pt>
                <c:pt idx="59">
                  <c:v>139</c:v>
                </c:pt>
                <c:pt idx="60">
                  <c:v>115</c:v>
                </c:pt>
                <c:pt idx="61">
                  <c:v>77</c:v>
                </c:pt>
                <c:pt idx="62">
                  <c:v>151</c:v>
                </c:pt>
                <c:pt idx="63">
                  <c:v>237</c:v>
                </c:pt>
                <c:pt idx="64">
                  <c:v>208</c:v>
                </c:pt>
                <c:pt idx="65">
                  <c:v>163</c:v>
                </c:pt>
                <c:pt idx="66">
                  <c:v>172</c:v>
                </c:pt>
                <c:pt idx="67">
                  <c:v>155</c:v>
                </c:pt>
                <c:pt idx="68">
                  <c:v>105</c:v>
                </c:pt>
                <c:pt idx="69">
                  <c:v>168</c:v>
                </c:pt>
                <c:pt idx="70">
                  <c:v>260</c:v>
                </c:pt>
                <c:pt idx="71">
                  <c:v>218</c:v>
                </c:pt>
                <c:pt idx="72">
                  <c:v>190</c:v>
                </c:pt>
                <c:pt idx="73">
                  <c:v>216</c:v>
                </c:pt>
                <c:pt idx="74">
                  <c:v>142</c:v>
                </c:pt>
                <c:pt idx="75">
                  <c:v>76</c:v>
                </c:pt>
                <c:pt idx="76">
                  <c:v>215</c:v>
                </c:pt>
                <c:pt idx="77">
                  <c:v>300</c:v>
                </c:pt>
                <c:pt idx="78">
                  <c:v>207</c:v>
                </c:pt>
                <c:pt idx="79">
                  <c:v>165</c:v>
                </c:pt>
                <c:pt idx="80">
                  <c:v>170</c:v>
                </c:pt>
                <c:pt idx="81">
                  <c:v>133</c:v>
                </c:pt>
                <c:pt idx="82">
                  <c:v>107</c:v>
                </c:pt>
                <c:pt idx="83">
                  <c:v>210</c:v>
                </c:pt>
                <c:pt idx="84">
                  <c:v>247</c:v>
                </c:pt>
                <c:pt idx="85">
                  <c:v>245</c:v>
                </c:pt>
                <c:pt idx="86">
                  <c:v>211</c:v>
                </c:pt>
                <c:pt idx="87">
                  <c:v>182</c:v>
                </c:pt>
                <c:pt idx="88">
                  <c:v>133</c:v>
                </c:pt>
                <c:pt idx="89">
                  <c:v>81</c:v>
                </c:pt>
                <c:pt idx="90">
                  <c:v>241</c:v>
                </c:pt>
                <c:pt idx="91">
                  <c:v>287</c:v>
                </c:pt>
                <c:pt idx="92">
                  <c:v>262</c:v>
                </c:pt>
                <c:pt idx="93">
                  <c:v>305</c:v>
                </c:pt>
                <c:pt idx="94">
                  <c:v>306</c:v>
                </c:pt>
                <c:pt idx="95">
                  <c:v>206</c:v>
                </c:pt>
                <c:pt idx="96">
                  <c:v>140</c:v>
                </c:pt>
                <c:pt idx="97">
                  <c:v>391</c:v>
                </c:pt>
                <c:pt idx="98">
                  <c:v>583</c:v>
                </c:pt>
                <c:pt idx="99">
                  <c:v>377</c:v>
                </c:pt>
                <c:pt idx="100">
                  <c:v>420</c:v>
                </c:pt>
                <c:pt idx="101">
                  <c:v>444</c:v>
                </c:pt>
                <c:pt idx="102">
                  <c:v>250</c:v>
                </c:pt>
                <c:pt idx="103">
                  <c:v>136</c:v>
                </c:pt>
                <c:pt idx="104">
                  <c:v>488</c:v>
                </c:pt>
                <c:pt idx="105">
                  <c:v>554</c:v>
                </c:pt>
                <c:pt idx="106">
                  <c:v>520</c:v>
                </c:pt>
                <c:pt idx="107">
                  <c:v>548</c:v>
                </c:pt>
                <c:pt idx="108">
                  <c:v>438</c:v>
                </c:pt>
                <c:pt idx="109">
                  <c:v>302</c:v>
                </c:pt>
                <c:pt idx="110">
                  <c:v>184</c:v>
                </c:pt>
                <c:pt idx="111">
                  <c:v>479</c:v>
                </c:pt>
                <c:pt idx="112">
                  <c:v>597</c:v>
                </c:pt>
                <c:pt idx="113">
                  <c:v>521</c:v>
                </c:pt>
                <c:pt idx="114">
                  <c:v>487</c:v>
                </c:pt>
                <c:pt idx="115">
                  <c:v>5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d/m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3"/>
        <c:majorTimeUnit val="days"/>
      </c:dateAx>
      <c:valAx>
        <c:axId val="494149648"/>
        <c:scaling>
          <c:orientation val="minMax"/>
          <c:max val="37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2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0.112130911</c:v>
                </c:pt>
                <c:pt idx="1">
                  <c:v>0.28032727600000001</c:v>
                </c:pt>
                <c:pt idx="2">
                  <c:v>0.53262182499999999</c:v>
                </c:pt>
                <c:pt idx="3">
                  <c:v>1.0091781950000001</c:v>
                </c:pt>
                <c:pt idx="4">
                  <c:v>0.99048970999999997</c:v>
                </c:pt>
                <c:pt idx="5">
                  <c:v>0.83163758700000001</c:v>
                </c:pt>
                <c:pt idx="6">
                  <c:v>0.448523642</c:v>
                </c:pt>
                <c:pt idx="7">
                  <c:v>1.0558994079999999</c:v>
                </c:pt>
                <c:pt idx="8">
                  <c:v>0.90639152700000003</c:v>
                </c:pt>
                <c:pt idx="9">
                  <c:v>1.1119648630000001</c:v>
                </c:pt>
                <c:pt idx="10">
                  <c:v>1.2708169869999999</c:v>
                </c:pt>
                <c:pt idx="11">
                  <c:v>1.9529466929999999</c:v>
                </c:pt>
                <c:pt idx="12">
                  <c:v>3.1303212540000001</c:v>
                </c:pt>
                <c:pt idx="13">
                  <c:v>6.6624449380000001</c:v>
                </c:pt>
                <c:pt idx="14">
                  <c:v>19.884548150000001</c:v>
                </c:pt>
                <c:pt idx="15">
                  <c:v>35.115663499999997</c:v>
                </c:pt>
                <c:pt idx="16">
                  <c:v>49.15071581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7.288509189</c:v>
                </c:pt>
                <c:pt idx="1">
                  <c:v>4.0740897519999999</c:v>
                </c:pt>
                <c:pt idx="2">
                  <c:v>2.0931103310000001</c:v>
                </c:pt>
                <c:pt idx="3">
                  <c:v>1.766061842</c:v>
                </c:pt>
                <c:pt idx="4">
                  <c:v>2.3734376080000001</c:v>
                </c:pt>
                <c:pt idx="5">
                  <c:v>3.6909758070000001</c:v>
                </c:pt>
                <c:pt idx="6">
                  <c:v>3.8965491430000001</c:v>
                </c:pt>
                <c:pt idx="7">
                  <c:v>3.7096642919999998</c:v>
                </c:pt>
                <c:pt idx="8">
                  <c:v>2.9901576159999999</c:v>
                </c:pt>
                <c:pt idx="9">
                  <c:v>3.167698224</c:v>
                </c:pt>
                <c:pt idx="10">
                  <c:v>3.4199927730000002</c:v>
                </c:pt>
                <c:pt idx="11">
                  <c:v>3.2331079219999999</c:v>
                </c:pt>
                <c:pt idx="12">
                  <c:v>3.5788448970000002</c:v>
                </c:pt>
                <c:pt idx="13">
                  <c:v>5.9803152319999997</c:v>
                </c:pt>
                <c:pt idx="14">
                  <c:v>8.3537528390000002</c:v>
                </c:pt>
                <c:pt idx="15">
                  <c:v>9.76473346400000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6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9705715212827803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trendline>
            <c:spPr>
              <a:ln w="19050" cap="rnd">
                <a:solidFill>
                  <a:srgbClr val="002060"/>
                </a:solidFill>
                <a:prstDash val="sysDot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B$1:$DT$1</c:f>
              <c:numCache>
                <c:formatCode>d/m;@</c:formatCode>
                <c:ptCount val="123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</c:numCache>
            </c:numRef>
          </c:cat>
          <c:val>
            <c:numRef>
              <c:f>List1!$B$2:$DT$2</c:f>
              <c:numCache>
                <c:formatCode>General</c:formatCode>
                <c:ptCount val="123"/>
                <c:pt idx="0">
                  <c:v>1.8075979999999998E-2</c:v>
                </c:pt>
                <c:pt idx="1">
                  <c:v>2.3075536000000001E-2</c:v>
                </c:pt>
                <c:pt idx="2">
                  <c:v>2.27365E-2</c:v>
                </c:pt>
                <c:pt idx="3">
                  <c:v>1.7012815000000001E-2</c:v>
                </c:pt>
                <c:pt idx="4">
                  <c:v>2.8339083000000001E-2</c:v>
                </c:pt>
                <c:pt idx="5">
                  <c:v>4.0416667000000003E-2</c:v>
                </c:pt>
                <c:pt idx="6">
                  <c:v>3.2973280000000001E-2</c:v>
                </c:pt>
                <c:pt idx="7">
                  <c:v>2.9399585999999998E-2</c:v>
                </c:pt>
                <c:pt idx="8">
                  <c:v>2.3738130999999999E-2</c:v>
                </c:pt>
                <c:pt idx="9">
                  <c:v>3.7599793999999999E-2</c:v>
                </c:pt>
                <c:pt idx="10">
                  <c:v>3.0975876999999999E-2</c:v>
                </c:pt>
                <c:pt idx="11">
                  <c:v>3.4917839999999999E-2</c:v>
                </c:pt>
                <c:pt idx="12">
                  <c:v>5.0222505000000001E-2</c:v>
                </c:pt>
                <c:pt idx="13">
                  <c:v>4.0567950999999998E-2</c:v>
                </c:pt>
                <c:pt idx="14">
                  <c:v>2.9056313E-2</c:v>
                </c:pt>
                <c:pt idx="15">
                  <c:v>3.947759E-2</c:v>
                </c:pt>
                <c:pt idx="16">
                  <c:v>4.5838359000000002E-2</c:v>
                </c:pt>
                <c:pt idx="17">
                  <c:v>3.4137727999999999E-2</c:v>
                </c:pt>
                <c:pt idx="18">
                  <c:v>5.3213545000000001E-2</c:v>
                </c:pt>
                <c:pt idx="19">
                  <c:v>5.078125E-2</c:v>
                </c:pt>
                <c:pt idx="20">
                  <c:v>4.5939294999999998E-2</c:v>
                </c:pt>
                <c:pt idx="21">
                  <c:v>3.7337316000000002E-2</c:v>
                </c:pt>
                <c:pt idx="22">
                  <c:v>4.2558815999999999E-2</c:v>
                </c:pt>
                <c:pt idx="23">
                  <c:v>5.3549191000000003E-2</c:v>
                </c:pt>
                <c:pt idx="24">
                  <c:v>3.1276416000000001E-2</c:v>
                </c:pt>
                <c:pt idx="25">
                  <c:v>5.0128754999999997E-2</c:v>
                </c:pt>
                <c:pt idx="26">
                  <c:v>0.143372046</c:v>
                </c:pt>
                <c:pt idx="27">
                  <c:v>0.143808995</c:v>
                </c:pt>
                <c:pt idx="28">
                  <c:v>4.1826632000000002E-2</c:v>
                </c:pt>
                <c:pt idx="29">
                  <c:v>4.6535154000000002E-2</c:v>
                </c:pt>
                <c:pt idx="30">
                  <c:v>3.5326086999999999E-2</c:v>
                </c:pt>
                <c:pt idx="31">
                  <c:v>4.7576098999999997E-2</c:v>
                </c:pt>
                <c:pt idx="32">
                  <c:v>4.7609441000000002E-2</c:v>
                </c:pt>
                <c:pt idx="33">
                  <c:v>9.0586146000000006E-2</c:v>
                </c:pt>
                <c:pt idx="34">
                  <c:v>7.6923077000000006E-2</c:v>
                </c:pt>
                <c:pt idx="35">
                  <c:v>5.4677206999999999E-2</c:v>
                </c:pt>
                <c:pt idx="36">
                  <c:v>4.6905411000000001E-2</c:v>
                </c:pt>
                <c:pt idx="37">
                  <c:v>4.5196634999999999E-2</c:v>
                </c:pt>
                <c:pt idx="38">
                  <c:v>3.6327344999999997E-2</c:v>
                </c:pt>
                <c:pt idx="39">
                  <c:v>4.4881716000000002E-2</c:v>
                </c:pt>
                <c:pt idx="40">
                  <c:v>5.3775744E-2</c:v>
                </c:pt>
                <c:pt idx="41">
                  <c:v>7.309185E-2</c:v>
                </c:pt>
                <c:pt idx="42">
                  <c:v>3.5968299000000002E-2</c:v>
                </c:pt>
                <c:pt idx="43">
                  <c:v>4.0281973999999998E-2</c:v>
                </c:pt>
                <c:pt idx="44">
                  <c:v>4.4480718000000002E-2</c:v>
                </c:pt>
                <c:pt idx="45">
                  <c:v>4.1322313999999999E-2</c:v>
                </c:pt>
                <c:pt idx="46">
                  <c:v>4.7213115E-2</c:v>
                </c:pt>
                <c:pt idx="47">
                  <c:v>5.0335570000000003E-2</c:v>
                </c:pt>
                <c:pt idx="48">
                  <c:v>3.8508807999999999E-2</c:v>
                </c:pt>
                <c:pt idx="49">
                  <c:v>3.5398230000000003E-2</c:v>
                </c:pt>
                <c:pt idx="50">
                  <c:v>4.2383484999999999E-2</c:v>
                </c:pt>
                <c:pt idx="51">
                  <c:v>3.8473189999999997E-2</c:v>
                </c:pt>
                <c:pt idx="52">
                  <c:v>4.0355992E-2</c:v>
                </c:pt>
                <c:pt idx="53">
                  <c:v>4.3135969000000003E-2</c:v>
                </c:pt>
                <c:pt idx="54">
                  <c:v>4.2496171999999999E-2</c:v>
                </c:pt>
                <c:pt idx="55">
                  <c:v>4.7032474999999997E-2</c:v>
                </c:pt>
                <c:pt idx="56">
                  <c:v>3.8602379999999999E-2</c:v>
                </c:pt>
                <c:pt idx="57">
                  <c:v>4.0965988000000002E-2</c:v>
                </c:pt>
                <c:pt idx="58">
                  <c:v>4.2748702E-2</c:v>
                </c:pt>
                <c:pt idx="59">
                  <c:v>3.9223402999999997E-2</c:v>
                </c:pt>
                <c:pt idx="60">
                  <c:v>3.3755788000000002E-2</c:v>
                </c:pt>
                <c:pt idx="61">
                  <c:v>2.6762957E-2</c:v>
                </c:pt>
                <c:pt idx="62">
                  <c:v>3.7023044999999997E-2</c:v>
                </c:pt>
                <c:pt idx="63">
                  <c:v>3.1629228000000002E-2</c:v>
                </c:pt>
                <c:pt idx="64">
                  <c:v>3.8744949000000001E-2</c:v>
                </c:pt>
                <c:pt idx="65">
                  <c:v>4.0316774999999999E-2</c:v>
                </c:pt>
                <c:pt idx="66">
                  <c:v>3.5588155000000003E-2</c:v>
                </c:pt>
                <c:pt idx="67">
                  <c:v>4.2472300999999997E-2</c:v>
                </c:pt>
                <c:pt idx="68">
                  <c:v>3.2843404E-2</c:v>
                </c:pt>
                <c:pt idx="69">
                  <c:v>3.9617486E-2</c:v>
                </c:pt>
                <c:pt idx="70">
                  <c:v>3.1466912999999999E-2</c:v>
                </c:pt>
                <c:pt idx="71">
                  <c:v>3.3705279999999997E-2</c:v>
                </c:pt>
                <c:pt idx="72">
                  <c:v>3.9636455000000001E-2</c:v>
                </c:pt>
                <c:pt idx="73">
                  <c:v>4.7490556000000003E-2</c:v>
                </c:pt>
                <c:pt idx="74">
                  <c:v>4.1880235000000002E-2</c:v>
                </c:pt>
                <c:pt idx="75">
                  <c:v>4.5765695000000002E-2</c:v>
                </c:pt>
                <c:pt idx="76">
                  <c:v>3.9274924000000003E-2</c:v>
                </c:pt>
                <c:pt idx="77">
                  <c:v>2.9784886999999999E-2</c:v>
                </c:pt>
                <c:pt idx="78">
                  <c:v>4.1872562000000002E-2</c:v>
                </c:pt>
                <c:pt idx="79">
                  <c:v>4.3892880000000002E-2</c:v>
                </c:pt>
                <c:pt idx="80">
                  <c:v>5.1468803E-2</c:v>
                </c:pt>
                <c:pt idx="81">
                  <c:v>4.2627677000000003E-2</c:v>
                </c:pt>
                <c:pt idx="82">
                  <c:v>4.5330206999999997E-2</c:v>
                </c:pt>
                <c:pt idx="83">
                  <c:v>5.8652245999999998E-2</c:v>
                </c:pt>
                <c:pt idx="84">
                  <c:v>3.8850667999999998E-2</c:v>
                </c:pt>
                <c:pt idx="85">
                  <c:v>4.5646468000000003E-2</c:v>
                </c:pt>
                <c:pt idx="86">
                  <c:v>4.7383229999999998E-2</c:v>
                </c:pt>
                <c:pt idx="87">
                  <c:v>4.5444661999999997E-2</c:v>
                </c:pt>
                <c:pt idx="88">
                  <c:v>5.0055412000000001E-2</c:v>
                </c:pt>
                <c:pt idx="89">
                  <c:v>6.3745626E-2</c:v>
                </c:pt>
                <c:pt idx="90">
                  <c:v>4.7643182999999999E-2</c:v>
                </c:pt>
                <c:pt idx="91">
                  <c:v>4.3858713000000001E-2</c:v>
                </c:pt>
                <c:pt idx="92">
                  <c:v>5.3335727999999999E-2</c:v>
                </c:pt>
                <c:pt idx="93">
                  <c:v>5.7747671E-2</c:v>
                </c:pt>
                <c:pt idx="94">
                  <c:v>6.6112121999999995E-2</c:v>
                </c:pt>
                <c:pt idx="95">
                  <c:v>6.5621795999999996E-2</c:v>
                </c:pt>
                <c:pt idx="96">
                  <c:v>7.1237279000000001E-2</c:v>
                </c:pt>
                <c:pt idx="97">
                  <c:v>7.6923077000000006E-2</c:v>
                </c:pt>
                <c:pt idx="98">
                  <c:v>7.0665288000000007E-2</c:v>
                </c:pt>
                <c:pt idx="99">
                  <c:v>8.2655910999999999E-2</c:v>
                </c:pt>
                <c:pt idx="100">
                  <c:v>8.4349004000000005E-2</c:v>
                </c:pt>
                <c:pt idx="101">
                  <c:v>9.5258281E-2</c:v>
                </c:pt>
                <c:pt idx="102">
                  <c:v>9.5540406999999994E-2</c:v>
                </c:pt>
                <c:pt idx="103">
                  <c:v>0.106330255</c:v>
                </c:pt>
                <c:pt idx="104">
                  <c:v>0.11015514799999999</c:v>
                </c:pt>
                <c:pt idx="105">
                  <c:v>9.0016552999999999E-2</c:v>
                </c:pt>
                <c:pt idx="106">
                  <c:v>0.107277259</c:v>
                </c:pt>
                <c:pt idx="107">
                  <c:v>0.114344003</c:v>
                </c:pt>
                <c:pt idx="108">
                  <c:v>0.118255415</c:v>
                </c:pt>
                <c:pt idx="109">
                  <c:v>0.114087118</c:v>
                </c:pt>
                <c:pt idx="110">
                  <c:v>0.116276016</c:v>
                </c:pt>
                <c:pt idx="111">
                  <c:v>0.102547107</c:v>
                </c:pt>
                <c:pt idx="112">
                  <c:v>9.4641936999999995E-2</c:v>
                </c:pt>
                <c:pt idx="113">
                  <c:v>0.10968749999999999</c:v>
                </c:pt>
                <c:pt idx="114">
                  <c:v>0.120294052</c:v>
                </c:pt>
                <c:pt idx="115">
                  <c:v>0.12662435799999999</c:v>
                </c:pt>
                <c:pt idx="116">
                  <c:v>0.13215459099999999</c:v>
                </c:pt>
                <c:pt idx="117">
                  <c:v>0.12470756400000001</c:v>
                </c:pt>
                <c:pt idx="118">
                  <c:v>0.12877340500000001</c:v>
                </c:pt>
                <c:pt idx="119">
                  <c:v>0.118513668</c:v>
                </c:pt>
                <c:pt idx="120">
                  <c:v>0.121220391</c:v>
                </c:pt>
                <c:pt idx="121">
                  <c:v>0.144320121</c:v>
                </c:pt>
                <c:pt idx="122">
                  <c:v>0.152836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trendline>
            <c:spPr>
              <a:ln w="19050" cap="rnd">
                <a:solidFill>
                  <a:schemeClr val="accent6">
                    <a:lumMod val="75000"/>
                  </a:schemeClr>
                </a:solidFill>
                <a:prstDash val="sysDot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B$1:$DT$1</c:f>
              <c:numCache>
                <c:formatCode>d/m;@</c:formatCode>
                <c:ptCount val="123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</c:numCache>
            </c:numRef>
          </c:cat>
          <c:val>
            <c:numRef>
              <c:f>List1!$B$3:$DT$3</c:f>
              <c:numCache>
                <c:formatCode>General</c:formatCode>
                <c:ptCount val="123"/>
                <c:pt idx="0">
                  <c:v>2.2333565999999999E-2</c:v>
                </c:pt>
                <c:pt idx="1">
                  <c:v>1.7889769E-2</c:v>
                </c:pt>
                <c:pt idx="2">
                  <c:v>1.2602154000000001E-2</c:v>
                </c:pt>
                <c:pt idx="3">
                  <c:v>1.2953368E-2</c:v>
                </c:pt>
                <c:pt idx="4">
                  <c:v>1.3265898E-2</c:v>
                </c:pt>
                <c:pt idx="5">
                  <c:v>1.3654754E-2</c:v>
                </c:pt>
                <c:pt idx="6">
                  <c:v>1.0266554000000001E-2</c:v>
                </c:pt>
                <c:pt idx="7">
                  <c:v>1.7655547000000001E-2</c:v>
                </c:pt>
                <c:pt idx="8">
                  <c:v>9.5800520000000004E-3</c:v>
                </c:pt>
                <c:pt idx="9">
                  <c:v>9.5863489999999992E-3</c:v>
                </c:pt>
                <c:pt idx="10">
                  <c:v>7.8325259999999994E-3</c:v>
                </c:pt>
                <c:pt idx="11">
                  <c:v>5.9996759999999998E-3</c:v>
                </c:pt>
                <c:pt idx="12">
                  <c:v>8.3918220000000002E-3</c:v>
                </c:pt>
                <c:pt idx="13">
                  <c:v>6.039076E-3</c:v>
                </c:pt>
                <c:pt idx="14">
                  <c:v>6.9199159999999999E-3</c:v>
                </c:pt>
                <c:pt idx="15">
                  <c:v>4.7310429999999999E-3</c:v>
                </c:pt>
                <c:pt idx="16">
                  <c:v>4.761248E-3</c:v>
                </c:pt>
                <c:pt idx="17">
                  <c:v>3.9391180000000001E-3</c:v>
                </c:pt>
                <c:pt idx="18">
                  <c:v>4.8769670000000003E-3</c:v>
                </c:pt>
                <c:pt idx="19">
                  <c:v>6.5987659999999998E-3</c:v>
                </c:pt>
                <c:pt idx="20">
                  <c:v>3.6800309999999998E-3</c:v>
                </c:pt>
                <c:pt idx="21">
                  <c:v>4.4395119999999996E-3</c:v>
                </c:pt>
                <c:pt idx="22">
                  <c:v>5.127993E-3</c:v>
                </c:pt>
                <c:pt idx="23">
                  <c:v>3.964787E-3</c:v>
                </c:pt>
                <c:pt idx="24">
                  <c:v>4.4825500000000001E-3</c:v>
                </c:pt>
                <c:pt idx="25">
                  <c:v>3.0105370000000002E-3</c:v>
                </c:pt>
                <c:pt idx="26">
                  <c:v>6.7796610000000002E-3</c:v>
                </c:pt>
                <c:pt idx="27">
                  <c:v>4.2168120000000003E-3</c:v>
                </c:pt>
                <c:pt idx="28">
                  <c:v>3.989121E-3</c:v>
                </c:pt>
                <c:pt idx="29">
                  <c:v>4.3389479999999996E-3</c:v>
                </c:pt>
                <c:pt idx="30">
                  <c:v>3.1725239999999999E-3</c:v>
                </c:pt>
                <c:pt idx="31">
                  <c:v>3.4166729999999998E-3</c:v>
                </c:pt>
                <c:pt idx="32">
                  <c:v>4.7278199999999998E-3</c:v>
                </c:pt>
                <c:pt idx="33">
                  <c:v>6.1675380000000002E-3</c:v>
                </c:pt>
                <c:pt idx="34">
                  <c:v>9.8456210000000006E-3</c:v>
                </c:pt>
                <c:pt idx="35">
                  <c:v>8.8898080000000008E-3</c:v>
                </c:pt>
                <c:pt idx="36">
                  <c:v>1.1578768999999999E-2</c:v>
                </c:pt>
                <c:pt idx="37">
                  <c:v>8.2513989999999995E-3</c:v>
                </c:pt>
                <c:pt idx="38">
                  <c:v>7.219067E-3</c:v>
                </c:pt>
                <c:pt idx="39">
                  <c:v>6.8737859999999998E-3</c:v>
                </c:pt>
                <c:pt idx="40">
                  <c:v>1.1301418000000001E-2</c:v>
                </c:pt>
                <c:pt idx="41">
                  <c:v>7.6750769999999998E-3</c:v>
                </c:pt>
                <c:pt idx="42">
                  <c:v>1.0882944E-2</c:v>
                </c:pt>
                <c:pt idx="43">
                  <c:v>8.8241329999999996E-3</c:v>
                </c:pt>
                <c:pt idx="44">
                  <c:v>6.5150950000000003E-3</c:v>
                </c:pt>
                <c:pt idx="45">
                  <c:v>5.2594449999999997E-3</c:v>
                </c:pt>
                <c:pt idx="46">
                  <c:v>6.2667859999999999E-3</c:v>
                </c:pt>
                <c:pt idx="47">
                  <c:v>7.6966930000000001E-3</c:v>
                </c:pt>
                <c:pt idx="48">
                  <c:v>7.9518309999999995E-3</c:v>
                </c:pt>
                <c:pt idx="49">
                  <c:v>9.5592309999999996E-3</c:v>
                </c:pt>
                <c:pt idx="50">
                  <c:v>9.1353660000000007E-3</c:v>
                </c:pt>
                <c:pt idx="51">
                  <c:v>6.050288E-3</c:v>
                </c:pt>
                <c:pt idx="52">
                  <c:v>4.1635689999999998E-3</c:v>
                </c:pt>
                <c:pt idx="53">
                  <c:v>4.4647189999999998E-3</c:v>
                </c:pt>
                <c:pt idx="54">
                  <c:v>6.1967469999999998E-3</c:v>
                </c:pt>
                <c:pt idx="55">
                  <c:v>4.9996880000000004E-3</c:v>
                </c:pt>
                <c:pt idx="56">
                  <c:v>7.2916370000000001E-3</c:v>
                </c:pt>
                <c:pt idx="57">
                  <c:v>6.5452560000000002E-3</c:v>
                </c:pt>
                <c:pt idx="58">
                  <c:v>6.3334259999999996E-3</c:v>
                </c:pt>
                <c:pt idx="59">
                  <c:v>3.0701069999999999E-3</c:v>
                </c:pt>
                <c:pt idx="60">
                  <c:v>3.073798E-3</c:v>
                </c:pt>
                <c:pt idx="61">
                  <c:v>4.8780489999999998E-3</c:v>
                </c:pt>
                <c:pt idx="62">
                  <c:v>5.28745E-3</c:v>
                </c:pt>
                <c:pt idx="63">
                  <c:v>7.3958540000000003E-3</c:v>
                </c:pt>
                <c:pt idx="64">
                  <c:v>7.8762850000000002E-3</c:v>
                </c:pt>
                <c:pt idx="65">
                  <c:v>5.8255779999999997E-3</c:v>
                </c:pt>
                <c:pt idx="66">
                  <c:v>3.3783149999999998E-3</c:v>
                </c:pt>
                <c:pt idx="67">
                  <c:v>3.4414060000000002E-3</c:v>
                </c:pt>
                <c:pt idx="68">
                  <c:v>5.324868E-3</c:v>
                </c:pt>
                <c:pt idx="69">
                  <c:v>6.0141509999999997E-3</c:v>
                </c:pt>
                <c:pt idx="70">
                  <c:v>7.9812210000000001E-3</c:v>
                </c:pt>
                <c:pt idx="71">
                  <c:v>7.3784990000000002E-3</c:v>
                </c:pt>
                <c:pt idx="72">
                  <c:v>6.2362620000000002E-3</c:v>
                </c:pt>
                <c:pt idx="73">
                  <c:v>4.0599909999999998E-3</c:v>
                </c:pt>
                <c:pt idx="74">
                  <c:v>3.9450689999999998E-3</c:v>
                </c:pt>
                <c:pt idx="75">
                  <c:v>5.1132210000000003E-3</c:v>
                </c:pt>
                <c:pt idx="76">
                  <c:v>7.7571669999999997E-3</c:v>
                </c:pt>
                <c:pt idx="77">
                  <c:v>8.7525420000000003E-3</c:v>
                </c:pt>
                <c:pt idx="78">
                  <c:v>8.5341840000000002E-3</c:v>
                </c:pt>
                <c:pt idx="79">
                  <c:v>6.2925630000000001E-3</c:v>
                </c:pt>
                <c:pt idx="80">
                  <c:v>4.372346E-3</c:v>
                </c:pt>
                <c:pt idx="81">
                  <c:v>4.7891449999999999E-3</c:v>
                </c:pt>
                <c:pt idx="82">
                  <c:v>6.8274080000000001E-3</c:v>
                </c:pt>
                <c:pt idx="83">
                  <c:v>7.6480029999999996E-3</c:v>
                </c:pt>
                <c:pt idx="84">
                  <c:v>9.1155539999999997E-3</c:v>
                </c:pt>
                <c:pt idx="85">
                  <c:v>1.1062865999999999E-2</c:v>
                </c:pt>
                <c:pt idx="86">
                  <c:v>7.4277570000000001E-3</c:v>
                </c:pt>
                <c:pt idx="87">
                  <c:v>7.8765680000000005E-3</c:v>
                </c:pt>
                <c:pt idx="88">
                  <c:v>9.2369700000000006E-3</c:v>
                </c:pt>
                <c:pt idx="89">
                  <c:v>7.8244079999999997E-3</c:v>
                </c:pt>
                <c:pt idx="90">
                  <c:v>8.8624199999999993E-3</c:v>
                </c:pt>
                <c:pt idx="91">
                  <c:v>8.84099E-3</c:v>
                </c:pt>
                <c:pt idx="92">
                  <c:v>6.0562660000000003E-3</c:v>
                </c:pt>
                <c:pt idx="93">
                  <c:v>5.6139320000000003E-3</c:v>
                </c:pt>
                <c:pt idx="94">
                  <c:v>1.1708623E-2</c:v>
                </c:pt>
                <c:pt idx="95">
                  <c:v>1.4739428000000001E-2</c:v>
                </c:pt>
                <c:pt idx="96">
                  <c:v>1.6833852E-2</c:v>
                </c:pt>
                <c:pt idx="97">
                  <c:v>9.2967870000000008E-3</c:v>
                </c:pt>
                <c:pt idx="98">
                  <c:v>1.3405871999999999E-2</c:v>
                </c:pt>
                <c:pt idx="99">
                  <c:v>1.5736868000000001E-2</c:v>
                </c:pt>
                <c:pt idx="100">
                  <c:v>1.6439239000000001E-2</c:v>
                </c:pt>
                <c:pt idx="101">
                  <c:v>1.7122587000000002E-2</c:v>
                </c:pt>
                <c:pt idx="102">
                  <c:v>1.56922E-2</c:v>
                </c:pt>
                <c:pt idx="103">
                  <c:v>1.5615616000000001E-2</c:v>
                </c:pt>
                <c:pt idx="104">
                  <c:v>2.2213156000000001E-2</c:v>
                </c:pt>
                <c:pt idx="105">
                  <c:v>2.5796330999999999E-2</c:v>
                </c:pt>
                <c:pt idx="106">
                  <c:v>2.3589308E-2</c:v>
                </c:pt>
                <c:pt idx="107">
                  <c:v>2.1607741999999999E-2</c:v>
                </c:pt>
                <c:pt idx="108">
                  <c:v>1.6865656E-2</c:v>
                </c:pt>
                <c:pt idx="109">
                  <c:v>1.9523921E-2</c:v>
                </c:pt>
                <c:pt idx="110">
                  <c:v>2.3180459E-2</c:v>
                </c:pt>
                <c:pt idx="111">
                  <c:v>2.0349788000000001E-2</c:v>
                </c:pt>
                <c:pt idx="112">
                  <c:v>2.6995694000000001E-2</c:v>
                </c:pt>
                <c:pt idx="113">
                  <c:v>2.1639219000000001E-2</c:v>
                </c:pt>
                <c:pt idx="114">
                  <c:v>1.5871573999999999E-2</c:v>
                </c:pt>
                <c:pt idx="115">
                  <c:v>1.49179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d/m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3"/>
        <c:majorTimeUnit val="days"/>
      </c:dateAx>
      <c:valAx>
        <c:axId val="494149648"/>
        <c:scaling>
          <c:orientation val="minMax"/>
          <c:max val="0.2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.000000000000001E-2"/>
      </c:valAx>
      <c:spPr>
        <a:noFill/>
        <a:ln>
          <a:noFill/>
        </a:ln>
        <a:effectLst/>
      </c:spPr>
    </c:plotArea>
    <c:legend>
      <c:legendPos val="r"/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:$A$3</c:f>
              <c:strCache>
                <c:ptCount val="1"/>
                <c:pt idx="0">
                  <c:v>2020 2021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List1!$B$1:$DT$1</c:f>
              <c:numCache>
                <c:formatCode>d/m;@</c:formatCode>
                <c:ptCount val="123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</c:numCache>
            </c:numRef>
          </c:cat>
          <c:val>
            <c:numRef>
              <c:f>List1!$B$2:$DT$2</c:f>
              <c:numCache>
                <c:formatCode>General</c:formatCode>
                <c:ptCount val="123"/>
                <c:pt idx="0">
                  <c:v>0.82210242600000005</c:v>
                </c:pt>
                <c:pt idx="1">
                  <c:v>0.81282051300000002</c:v>
                </c:pt>
                <c:pt idx="2">
                  <c:v>0.91237113400000003</c:v>
                </c:pt>
                <c:pt idx="3">
                  <c:v>1.0463768120000001</c:v>
                </c:pt>
                <c:pt idx="4">
                  <c:v>1.066037736</c:v>
                </c:pt>
                <c:pt idx="5">
                  <c:v>1.124590164</c:v>
                </c:pt>
                <c:pt idx="6">
                  <c:v>1.154574132</c:v>
                </c:pt>
                <c:pt idx="7">
                  <c:v>1.132768362</c:v>
                </c:pt>
                <c:pt idx="8">
                  <c:v>1.088642659</c:v>
                </c:pt>
                <c:pt idx="9">
                  <c:v>1.156342183</c:v>
                </c:pt>
                <c:pt idx="10">
                  <c:v>1.1516034989999999</c:v>
                </c:pt>
                <c:pt idx="11">
                  <c:v>1.1256830600000001</c:v>
                </c:pt>
                <c:pt idx="12">
                  <c:v>1.0648379050000001</c:v>
                </c:pt>
                <c:pt idx="13">
                  <c:v>1.015267176</c:v>
                </c:pt>
                <c:pt idx="14">
                  <c:v>0.94387755100000004</c:v>
                </c:pt>
                <c:pt idx="15">
                  <c:v>0.91645569599999999</c:v>
                </c:pt>
                <c:pt idx="16">
                  <c:v>0.82524271800000004</c:v>
                </c:pt>
                <c:pt idx="17">
                  <c:v>0.92271662799999998</c:v>
                </c:pt>
                <c:pt idx="18">
                  <c:v>1.1729323309999999</c:v>
                </c:pt>
                <c:pt idx="19">
                  <c:v>1.2378378379999999</c:v>
                </c:pt>
                <c:pt idx="20">
                  <c:v>1.3121546959999999</c:v>
                </c:pt>
                <c:pt idx="21">
                  <c:v>1.4676470589999999</c:v>
                </c:pt>
                <c:pt idx="22">
                  <c:v>1.373096447</c:v>
                </c:pt>
                <c:pt idx="23">
                  <c:v>1.3183760680000001</c:v>
                </c:pt>
                <c:pt idx="24">
                  <c:v>1.292576419</c:v>
                </c:pt>
                <c:pt idx="25">
                  <c:v>1.3347368420000001</c:v>
                </c:pt>
                <c:pt idx="26">
                  <c:v>1.7054108219999999</c:v>
                </c:pt>
                <c:pt idx="27">
                  <c:v>2.0443622920000002</c:v>
                </c:pt>
                <c:pt idx="28">
                  <c:v>2.0145867100000001</c:v>
                </c:pt>
                <c:pt idx="29">
                  <c:v>2.201013514</c:v>
                </c:pt>
                <c:pt idx="30">
                  <c:v>1.9984227130000001</c:v>
                </c:pt>
                <c:pt idx="31">
                  <c:v>1.5346651</c:v>
                </c:pt>
                <c:pt idx="32">
                  <c:v>1.1555153709999999</c:v>
                </c:pt>
                <c:pt idx="33">
                  <c:v>0.91633145599999999</c:v>
                </c:pt>
                <c:pt idx="34">
                  <c:v>0.69762087500000003</c:v>
                </c:pt>
                <c:pt idx="35">
                  <c:v>0.59905288099999998</c:v>
                </c:pt>
                <c:pt idx="36">
                  <c:v>0.55742725900000001</c:v>
                </c:pt>
                <c:pt idx="37">
                  <c:v>0.59937402200000001</c:v>
                </c:pt>
                <c:pt idx="38">
                  <c:v>0.64881475</c:v>
                </c:pt>
                <c:pt idx="39">
                  <c:v>0.81408140799999995</c:v>
                </c:pt>
                <c:pt idx="40">
                  <c:v>0.88537549400000004</c:v>
                </c:pt>
                <c:pt idx="41">
                  <c:v>0.90109890100000001</c:v>
                </c:pt>
                <c:pt idx="42">
                  <c:v>0.87336814600000001</c:v>
                </c:pt>
                <c:pt idx="43">
                  <c:v>0.88633288200000004</c:v>
                </c:pt>
                <c:pt idx="44">
                  <c:v>0.89189189199999996</c:v>
                </c:pt>
                <c:pt idx="45">
                  <c:v>1.029761905</c:v>
                </c:pt>
                <c:pt idx="46">
                  <c:v>1.035060976</c:v>
                </c:pt>
                <c:pt idx="47">
                  <c:v>1.1031390130000001</c:v>
                </c:pt>
                <c:pt idx="48">
                  <c:v>1.1755725189999999</c:v>
                </c:pt>
                <c:pt idx="49">
                  <c:v>1.3242424239999999</c:v>
                </c:pt>
                <c:pt idx="50">
                  <c:v>1.4118497109999999</c:v>
                </c:pt>
                <c:pt idx="51">
                  <c:v>1.602356406</c:v>
                </c:pt>
                <c:pt idx="52">
                  <c:v>1.601626016</c:v>
                </c:pt>
                <c:pt idx="53">
                  <c:v>1.7298701299999999</c:v>
                </c:pt>
                <c:pt idx="54">
                  <c:v>1.5469107550000001</c:v>
                </c:pt>
                <c:pt idx="55">
                  <c:v>1.407369498</c:v>
                </c:pt>
                <c:pt idx="56">
                  <c:v>1.2876838239999999</c:v>
                </c:pt>
                <c:pt idx="57">
                  <c:v>1.2436548220000001</c:v>
                </c:pt>
                <c:pt idx="58">
                  <c:v>1.125375375</c:v>
                </c:pt>
                <c:pt idx="59">
                  <c:v>1.1257396449999999</c:v>
                </c:pt>
                <c:pt idx="60">
                  <c:v>1.0727272729999999</c:v>
                </c:pt>
                <c:pt idx="61">
                  <c:v>1.047109208</c:v>
                </c:pt>
                <c:pt idx="62">
                  <c:v>0.98911564600000002</c:v>
                </c:pt>
                <c:pt idx="63">
                  <c:v>0.97931954600000004</c:v>
                </c:pt>
                <c:pt idx="64">
                  <c:v>0.97174769999999999</c:v>
                </c:pt>
                <c:pt idx="65">
                  <c:v>0.980338983</c:v>
                </c:pt>
                <c:pt idx="66">
                  <c:v>0.95841854100000001</c:v>
                </c:pt>
                <c:pt idx="67">
                  <c:v>1.02957359</c:v>
                </c:pt>
                <c:pt idx="68">
                  <c:v>1.0531335150000001</c:v>
                </c:pt>
                <c:pt idx="69">
                  <c:v>1.0594996619999999</c:v>
                </c:pt>
                <c:pt idx="70">
                  <c:v>1.0373443979999999</c:v>
                </c:pt>
                <c:pt idx="71">
                  <c:v>1.0675675680000001</c:v>
                </c:pt>
                <c:pt idx="72">
                  <c:v>1.0347361390000001</c:v>
                </c:pt>
                <c:pt idx="73">
                  <c:v>1.0769728329999999</c:v>
                </c:pt>
                <c:pt idx="74">
                  <c:v>1.0427568599999999</c:v>
                </c:pt>
                <c:pt idx="75">
                  <c:v>1.1053333329999999</c:v>
                </c:pt>
                <c:pt idx="76">
                  <c:v>1.103930713</c:v>
                </c:pt>
                <c:pt idx="77">
                  <c:v>1.1020012910000001</c:v>
                </c:pt>
                <c:pt idx="78">
                  <c:v>1.0210210209999999</c:v>
                </c:pt>
                <c:pt idx="79">
                  <c:v>1.0550795589999999</c:v>
                </c:pt>
                <c:pt idx="80">
                  <c:v>0.98914354599999998</c:v>
                </c:pt>
                <c:pt idx="81">
                  <c:v>1.1182860590000001</c:v>
                </c:pt>
                <c:pt idx="82">
                  <c:v>1.1072056240000001</c:v>
                </c:pt>
                <c:pt idx="83">
                  <c:v>1.120588235</c:v>
                </c:pt>
                <c:pt idx="84">
                  <c:v>1.1444315549999999</c:v>
                </c:pt>
                <c:pt idx="85">
                  <c:v>1.253658537</c:v>
                </c:pt>
                <c:pt idx="86">
                  <c:v>1.1543443069999999</c:v>
                </c:pt>
                <c:pt idx="87">
                  <c:v>1.186772487</c:v>
                </c:pt>
                <c:pt idx="88">
                  <c:v>1.1674540680000001</c:v>
                </c:pt>
                <c:pt idx="89">
                  <c:v>1.170805879</c:v>
                </c:pt>
                <c:pt idx="90">
                  <c:v>1.1911478600000001</c:v>
                </c:pt>
                <c:pt idx="91">
                  <c:v>1.143525012</c:v>
                </c:pt>
                <c:pt idx="92">
                  <c:v>1.150245207</c:v>
                </c:pt>
                <c:pt idx="93">
                  <c:v>1.2720323739999999</c:v>
                </c:pt>
                <c:pt idx="94">
                  <c:v>1.3653679649999999</c:v>
                </c:pt>
                <c:pt idx="95">
                  <c:v>1.4152715389999999</c:v>
                </c:pt>
                <c:pt idx="96">
                  <c:v>1.4922322159999999</c:v>
                </c:pt>
                <c:pt idx="97">
                  <c:v>1.4670542639999999</c:v>
                </c:pt>
                <c:pt idx="98">
                  <c:v>1.445740544</c:v>
                </c:pt>
                <c:pt idx="99">
                  <c:v>1.506975269</c:v>
                </c:pt>
                <c:pt idx="100">
                  <c:v>1.519330641</c:v>
                </c:pt>
                <c:pt idx="101">
                  <c:v>1.6367123290000001</c:v>
                </c:pt>
                <c:pt idx="102">
                  <c:v>1.748745046</c:v>
                </c:pt>
                <c:pt idx="103">
                  <c:v>1.870904645</c:v>
                </c:pt>
                <c:pt idx="104">
                  <c:v>1.690090469</c:v>
                </c:pt>
                <c:pt idx="105">
                  <c:v>1.6141283710000001</c:v>
                </c:pt>
                <c:pt idx="106">
                  <c:v>1.5090391700000001</c:v>
                </c:pt>
                <c:pt idx="107">
                  <c:v>1.5092914340000001</c:v>
                </c:pt>
                <c:pt idx="108">
                  <c:v>1.533193936</c:v>
                </c:pt>
                <c:pt idx="109">
                  <c:v>1.543383543</c:v>
                </c:pt>
                <c:pt idx="110">
                  <c:v>1.5183529410000001</c:v>
                </c:pt>
                <c:pt idx="111">
                  <c:v>1.45302274</c:v>
                </c:pt>
                <c:pt idx="112">
                  <c:v>1.3561561559999999</c:v>
                </c:pt>
                <c:pt idx="113">
                  <c:v>1.215393795</c:v>
                </c:pt>
                <c:pt idx="114">
                  <c:v>1.1639780609999999</c:v>
                </c:pt>
                <c:pt idx="115">
                  <c:v>1.101193243</c:v>
                </c:pt>
                <c:pt idx="116">
                  <c:v>1.148866326</c:v>
                </c:pt>
                <c:pt idx="117">
                  <c:v>1.1060673160000001</c:v>
                </c:pt>
                <c:pt idx="118">
                  <c:v>1.073357178</c:v>
                </c:pt>
                <c:pt idx="119">
                  <c:v>1.047190077</c:v>
                </c:pt>
                <c:pt idx="120">
                  <c:v>1.0334224599999999</c:v>
                </c:pt>
                <c:pt idx="121">
                  <c:v>1.0171439959999999</c:v>
                </c:pt>
                <c:pt idx="122">
                  <c:v>1.061327995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4A3-4CB3-9339-304CB1D10FBD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List1!$B$1:$DT$1</c:f>
              <c:numCache>
                <c:formatCode>d/m;@</c:formatCode>
                <c:ptCount val="123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</c:numCache>
            </c:numRef>
          </c:cat>
          <c:val>
            <c:numRef>
              <c:f>List1!$B$3:$DT$3</c:f>
              <c:numCache>
                <c:formatCode>General</c:formatCode>
                <c:ptCount val="123"/>
                <c:pt idx="0">
                  <c:v>0.78347657299999995</c:v>
                </c:pt>
                <c:pt idx="1">
                  <c:v>0.77905604699999997</c:v>
                </c:pt>
                <c:pt idx="2">
                  <c:v>0.78174603200000004</c:v>
                </c:pt>
                <c:pt idx="3">
                  <c:v>0.76089000299999998</c:v>
                </c:pt>
                <c:pt idx="4">
                  <c:v>0.78424202099999996</c:v>
                </c:pt>
                <c:pt idx="5">
                  <c:v>0.82979476299999999</c:v>
                </c:pt>
                <c:pt idx="6">
                  <c:v>0.80499810699999996</c:v>
                </c:pt>
                <c:pt idx="7">
                  <c:v>0.79304958999999997</c:v>
                </c:pt>
                <c:pt idx="8">
                  <c:v>0.79406919300000001</c:v>
                </c:pt>
                <c:pt idx="9">
                  <c:v>0.71682916500000005</c:v>
                </c:pt>
                <c:pt idx="10">
                  <c:v>0.66098080999999997</c:v>
                </c:pt>
                <c:pt idx="11">
                  <c:v>0.69143932299999999</c:v>
                </c:pt>
                <c:pt idx="12">
                  <c:v>0.69571639600000001</c:v>
                </c:pt>
                <c:pt idx="13">
                  <c:v>0.67064315399999996</c:v>
                </c:pt>
                <c:pt idx="14">
                  <c:v>0.66055588399999998</c:v>
                </c:pt>
                <c:pt idx="15">
                  <c:v>0.64258064500000001</c:v>
                </c:pt>
                <c:pt idx="16">
                  <c:v>0.65510204100000002</c:v>
                </c:pt>
                <c:pt idx="17">
                  <c:v>0.65605095499999999</c:v>
                </c:pt>
                <c:pt idx="18">
                  <c:v>0.70920340299999995</c:v>
                </c:pt>
                <c:pt idx="19">
                  <c:v>0.83527305299999999</c:v>
                </c:pt>
                <c:pt idx="20">
                  <c:v>0.88052208799999998</c:v>
                </c:pt>
                <c:pt idx="21">
                  <c:v>0.81100726899999998</c:v>
                </c:pt>
                <c:pt idx="22">
                  <c:v>0.81661272900000004</c:v>
                </c:pt>
                <c:pt idx="23">
                  <c:v>0.75899672799999995</c:v>
                </c:pt>
                <c:pt idx="24">
                  <c:v>0.73311897100000001</c:v>
                </c:pt>
                <c:pt idx="25">
                  <c:v>0.78563283900000003</c:v>
                </c:pt>
                <c:pt idx="26">
                  <c:v>0.883482714</c:v>
                </c:pt>
                <c:pt idx="27">
                  <c:v>0.95376486100000002</c:v>
                </c:pt>
                <c:pt idx="28">
                  <c:v>1.1005747130000001</c:v>
                </c:pt>
                <c:pt idx="29">
                  <c:v>1.165204678</c:v>
                </c:pt>
                <c:pt idx="30">
                  <c:v>1.2583454279999999</c:v>
                </c:pt>
                <c:pt idx="31">
                  <c:v>1.302898551</c:v>
                </c:pt>
                <c:pt idx="32">
                  <c:v>1.324099723</c:v>
                </c:pt>
                <c:pt idx="33">
                  <c:v>1.3133159270000001</c:v>
                </c:pt>
                <c:pt idx="34">
                  <c:v>1.235884567</c:v>
                </c:pt>
                <c:pt idx="35">
                  <c:v>1.08189158</c:v>
                </c:pt>
                <c:pt idx="36">
                  <c:v>1.2024471640000001</c:v>
                </c:pt>
                <c:pt idx="37">
                  <c:v>1.217573222</c:v>
                </c:pt>
                <c:pt idx="38">
                  <c:v>1.276341948</c:v>
                </c:pt>
                <c:pt idx="39">
                  <c:v>1.3360406090000001</c:v>
                </c:pt>
                <c:pt idx="40">
                  <c:v>1.4445629</c:v>
                </c:pt>
                <c:pt idx="41">
                  <c:v>1.35892692</c:v>
                </c:pt>
                <c:pt idx="42">
                  <c:v>1.4441580759999999</c:v>
                </c:pt>
                <c:pt idx="43">
                  <c:v>1.293613707</c:v>
                </c:pt>
                <c:pt idx="44">
                  <c:v>1.243920973</c:v>
                </c:pt>
                <c:pt idx="45">
                  <c:v>1.175645756</c:v>
                </c:pt>
                <c:pt idx="46">
                  <c:v>1.111640572</c:v>
                </c:pt>
                <c:pt idx="47">
                  <c:v>0.95300416399999999</c:v>
                </c:pt>
                <c:pt idx="48">
                  <c:v>0.94942805500000005</c:v>
                </c:pt>
                <c:pt idx="49">
                  <c:v>0.95051924300000001</c:v>
                </c:pt>
                <c:pt idx="50">
                  <c:v>0.95919648499999999</c:v>
                </c:pt>
                <c:pt idx="51">
                  <c:v>0.91671769700000005</c:v>
                </c:pt>
                <c:pt idx="52">
                  <c:v>0.90199750300000003</c:v>
                </c:pt>
                <c:pt idx="53">
                  <c:v>0.87064045700000003</c:v>
                </c:pt>
                <c:pt idx="54">
                  <c:v>0.85925449899999995</c:v>
                </c:pt>
                <c:pt idx="55">
                  <c:v>0.86125654500000004</c:v>
                </c:pt>
                <c:pt idx="56">
                  <c:v>0.84702738799999999</c:v>
                </c:pt>
                <c:pt idx="57">
                  <c:v>0.85051903100000004</c:v>
                </c:pt>
                <c:pt idx="58">
                  <c:v>0.90240349600000003</c:v>
                </c:pt>
                <c:pt idx="59">
                  <c:v>0.89005235599999999</c:v>
                </c:pt>
                <c:pt idx="60">
                  <c:v>0.89665653499999998</c:v>
                </c:pt>
                <c:pt idx="61">
                  <c:v>0.92823343800000002</c:v>
                </c:pt>
                <c:pt idx="62">
                  <c:v>0.92026037400000005</c:v>
                </c:pt>
                <c:pt idx="63">
                  <c:v>0.90072639200000004</c:v>
                </c:pt>
                <c:pt idx="64">
                  <c:v>0.95126050399999995</c:v>
                </c:pt>
                <c:pt idx="65">
                  <c:v>0.92457627099999995</c:v>
                </c:pt>
                <c:pt idx="66">
                  <c:v>0.95581988100000004</c:v>
                </c:pt>
                <c:pt idx="67">
                  <c:v>1.030061892</c:v>
                </c:pt>
                <c:pt idx="68">
                  <c:v>1.0689964160000001</c:v>
                </c:pt>
                <c:pt idx="69">
                  <c:v>1.0680212010000001</c:v>
                </c:pt>
                <c:pt idx="70">
                  <c:v>1.12923923</c:v>
                </c:pt>
                <c:pt idx="71">
                  <c:v>1.1040000000000001</c:v>
                </c:pt>
                <c:pt idx="72">
                  <c:v>1.0892703859999999</c:v>
                </c:pt>
                <c:pt idx="73">
                  <c:v>1.0997485330000001</c:v>
                </c:pt>
                <c:pt idx="74">
                  <c:v>1.074441687</c:v>
                </c:pt>
                <c:pt idx="75">
                  <c:v>1.0316558440000001</c:v>
                </c:pt>
                <c:pt idx="76">
                  <c:v>1.0611916260000001</c:v>
                </c:pt>
                <c:pt idx="77">
                  <c:v>1.070133964</c:v>
                </c:pt>
                <c:pt idx="78">
                  <c:v>1.027439024</c:v>
                </c:pt>
                <c:pt idx="79">
                  <c:v>1.018475751</c:v>
                </c:pt>
                <c:pt idx="80">
                  <c:v>1.004720692</c:v>
                </c:pt>
                <c:pt idx="81">
                  <c:v>0.96206373300000003</c:v>
                </c:pt>
                <c:pt idx="82">
                  <c:v>0.955817378</c:v>
                </c:pt>
                <c:pt idx="83">
                  <c:v>0.95919881299999998</c:v>
                </c:pt>
                <c:pt idx="84">
                  <c:v>0.93726379400000004</c:v>
                </c:pt>
                <c:pt idx="85">
                  <c:v>1</c:v>
                </c:pt>
                <c:pt idx="86">
                  <c:v>1.0433753939999999</c:v>
                </c:pt>
                <c:pt idx="87">
                  <c:v>1.0285053930000001</c:v>
                </c:pt>
                <c:pt idx="88">
                  <c:v>1.0324825989999999</c:v>
                </c:pt>
                <c:pt idx="89">
                  <c:v>1.0556451609999999</c:v>
                </c:pt>
                <c:pt idx="90">
                  <c:v>1.0493343770000001</c:v>
                </c:pt>
                <c:pt idx="91">
                  <c:v>1.0430839000000001</c:v>
                </c:pt>
                <c:pt idx="92">
                  <c:v>1.046441948</c:v>
                </c:pt>
                <c:pt idx="93">
                  <c:v>1.116853933</c:v>
                </c:pt>
                <c:pt idx="94">
                  <c:v>1.233766234</c:v>
                </c:pt>
                <c:pt idx="95">
                  <c:v>1.2597014929999999</c:v>
                </c:pt>
                <c:pt idx="96">
                  <c:v>1.2659420290000001</c:v>
                </c:pt>
                <c:pt idx="97">
                  <c:v>1.357909807</c:v>
                </c:pt>
                <c:pt idx="98">
                  <c:v>1.4708249499999999</c:v>
                </c:pt>
                <c:pt idx="99">
                  <c:v>1.4291021669999999</c:v>
                </c:pt>
                <c:pt idx="100">
                  <c:v>1.4354265399999999</c:v>
                </c:pt>
                <c:pt idx="101">
                  <c:v>1.4659416139999999</c:v>
                </c:pt>
                <c:pt idx="102">
                  <c:v>1.3732208749999999</c:v>
                </c:pt>
                <c:pt idx="103">
                  <c:v>1.1860465120000001</c:v>
                </c:pt>
                <c:pt idx="104">
                  <c:v>1.16897747</c:v>
                </c:pt>
                <c:pt idx="105">
                  <c:v>1.101527033</c:v>
                </c:pt>
                <c:pt idx="106">
                  <c:v>1.0980085900000001</c:v>
                </c:pt>
                <c:pt idx="107">
                  <c:v>1.128598848</c:v>
                </c:pt>
                <c:pt idx="108">
                  <c:v>1.1280276819999999</c:v>
                </c:pt>
                <c:pt idx="109">
                  <c:v>1.1067457380000001</c:v>
                </c:pt>
                <c:pt idx="110">
                  <c:v>1.136755339</c:v>
                </c:pt>
                <c:pt idx="111">
                  <c:v>1.075746799</c:v>
                </c:pt>
                <c:pt idx="112">
                  <c:v>1.0435374150000001</c:v>
                </c:pt>
                <c:pt idx="113">
                  <c:v>1.0460122700000001</c:v>
                </c:pt>
                <c:pt idx="114">
                  <c:v>1.0073677160000001</c:v>
                </c:pt>
                <c:pt idx="115">
                  <c:v>1.012854318</c:v>
                </c:pt>
                <c:pt idx="116">
                  <c:v>0.995371900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A3-4CB3-9339-304CB1D10F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d/m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3"/>
        <c:majorTimeUnit val="days"/>
      </c:dateAx>
      <c:valAx>
        <c:axId val="494149648"/>
        <c:scaling>
          <c:orientation val="minMax"/>
          <c:max val="3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0.5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6166960064971887"/>
          <c:y val="0.27545860500728103"/>
          <c:w val="0.138330399350281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  <c:userShapes r:id="rId4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List1!$B$1:$DT$1</c:f>
              <c:numCache>
                <c:formatCode>d/m;@</c:formatCode>
                <c:ptCount val="123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</c:numCache>
            </c:numRef>
          </c:cat>
          <c:val>
            <c:numRef>
              <c:f>List1!$B$2:$DT$2</c:f>
              <c:numCache>
                <c:formatCode>General</c:formatCode>
                <c:ptCount val="123"/>
                <c:pt idx="0">
                  <c:v>4</c:v>
                </c:pt>
                <c:pt idx="1">
                  <c:v>5</c:v>
                </c:pt>
                <c:pt idx="2">
                  <c:v>0</c:v>
                </c:pt>
                <c:pt idx="3">
                  <c:v>4</c:v>
                </c:pt>
                <c:pt idx="4">
                  <c:v>9</c:v>
                </c:pt>
                <c:pt idx="5">
                  <c:v>4</c:v>
                </c:pt>
                <c:pt idx="6">
                  <c:v>4</c:v>
                </c:pt>
                <c:pt idx="7">
                  <c:v>1</c:v>
                </c:pt>
                <c:pt idx="8">
                  <c:v>4</c:v>
                </c:pt>
                <c:pt idx="9">
                  <c:v>6</c:v>
                </c:pt>
                <c:pt idx="10">
                  <c:v>4</c:v>
                </c:pt>
                <c:pt idx="11">
                  <c:v>6</c:v>
                </c:pt>
                <c:pt idx="12">
                  <c:v>4</c:v>
                </c:pt>
                <c:pt idx="13">
                  <c:v>5</c:v>
                </c:pt>
                <c:pt idx="14">
                  <c:v>11</c:v>
                </c:pt>
                <c:pt idx="15">
                  <c:v>6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6</c:v>
                </c:pt>
                <c:pt idx="20">
                  <c:v>2</c:v>
                </c:pt>
                <c:pt idx="21">
                  <c:v>3</c:v>
                </c:pt>
                <c:pt idx="22">
                  <c:v>6</c:v>
                </c:pt>
                <c:pt idx="23">
                  <c:v>7</c:v>
                </c:pt>
                <c:pt idx="24">
                  <c:v>1</c:v>
                </c:pt>
                <c:pt idx="25">
                  <c:v>5</c:v>
                </c:pt>
                <c:pt idx="26">
                  <c:v>4</c:v>
                </c:pt>
                <c:pt idx="27">
                  <c:v>7</c:v>
                </c:pt>
                <c:pt idx="28">
                  <c:v>5</c:v>
                </c:pt>
                <c:pt idx="29">
                  <c:v>4</c:v>
                </c:pt>
                <c:pt idx="30">
                  <c:v>10</c:v>
                </c:pt>
                <c:pt idx="31">
                  <c:v>4</c:v>
                </c:pt>
                <c:pt idx="32">
                  <c:v>7</c:v>
                </c:pt>
                <c:pt idx="33">
                  <c:v>3</c:v>
                </c:pt>
                <c:pt idx="34">
                  <c:v>9</c:v>
                </c:pt>
                <c:pt idx="35">
                  <c:v>2</c:v>
                </c:pt>
                <c:pt idx="36">
                  <c:v>10</c:v>
                </c:pt>
                <c:pt idx="37">
                  <c:v>10</c:v>
                </c:pt>
                <c:pt idx="38">
                  <c:v>5</c:v>
                </c:pt>
                <c:pt idx="39">
                  <c:v>5</c:v>
                </c:pt>
                <c:pt idx="40">
                  <c:v>3</c:v>
                </c:pt>
                <c:pt idx="41">
                  <c:v>3</c:v>
                </c:pt>
                <c:pt idx="42">
                  <c:v>8</c:v>
                </c:pt>
                <c:pt idx="43">
                  <c:v>2</c:v>
                </c:pt>
                <c:pt idx="44">
                  <c:v>13</c:v>
                </c:pt>
                <c:pt idx="45">
                  <c:v>5</c:v>
                </c:pt>
                <c:pt idx="46">
                  <c:v>6</c:v>
                </c:pt>
                <c:pt idx="47">
                  <c:v>8</c:v>
                </c:pt>
                <c:pt idx="48">
                  <c:v>4</c:v>
                </c:pt>
                <c:pt idx="49">
                  <c:v>3</c:v>
                </c:pt>
                <c:pt idx="50">
                  <c:v>10</c:v>
                </c:pt>
                <c:pt idx="51">
                  <c:v>17</c:v>
                </c:pt>
                <c:pt idx="52">
                  <c:v>10</c:v>
                </c:pt>
                <c:pt idx="53">
                  <c:v>9</c:v>
                </c:pt>
                <c:pt idx="54">
                  <c:v>9</c:v>
                </c:pt>
                <c:pt idx="55">
                  <c:v>5</c:v>
                </c:pt>
                <c:pt idx="56">
                  <c:v>22</c:v>
                </c:pt>
                <c:pt idx="57">
                  <c:v>11</c:v>
                </c:pt>
                <c:pt idx="58">
                  <c:v>15</c:v>
                </c:pt>
                <c:pt idx="59">
                  <c:v>12</c:v>
                </c:pt>
                <c:pt idx="60">
                  <c:v>12</c:v>
                </c:pt>
                <c:pt idx="61">
                  <c:v>8</c:v>
                </c:pt>
                <c:pt idx="62">
                  <c:v>3</c:v>
                </c:pt>
                <c:pt idx="63">
                  <c:v>10</c:v>
                </c:pt>
                <c:pt idx="64">
                  <c:v>14</c:v>
                </c:pt>
                <c:pt idx="65">
                  <c:v>9</c:v>
                </c:pt>
                <c:pt idx="66">
                  <c:v>4</c:v>
                </c:pt>
                <c:pt idx="67">
                  <c:v>14</c:v>
                </c:pt>
                <c:pt idx="68">
                  <c:v>9</c:v>
                </c:pt>
                <c:pt idx="69">
                  <c:v>13</c:v>
                </c:pt>
                <c:pt idx="70">
                  <c:v>12</c:v>
                </c:pt>
                <c:pt idx="71">
                  <c:v>8</c:v>
                </c:pt>
                <c:pt idx="72">
                  <c:v>13</c:v>
                </c:pt>
                <c:pt idx="73">
                  <c:v>13</c:v>
                </c:pt>
                <c:pt idx="74">
                  <c:v>19</c:v>
                </c:pt>
                <c:pt idx="75">
                  <c:v>12</c:v>
                </c:pt>
                <c:pt idx="76">
                  <c:v>11</c:v>
                </c:pt>
                <c:pt idx="77">
                  <c:v>16</c:v>
                </c:pt>
                <c:pt idx="78">
                  <c:v>6</c:v>
                </c:pt>
                <c:pt idx="79">
                  <c:v>14</c:v>
                </c:pt>
                <c:pt idx="80">
                  <c:v>22</c:v>
                </c:pt>
                <c:pt idx="81">
                  <c:v>22</c:v>
                </c:pt>
                <c:pt idx="82">
                  <c:v>14</c:v>
                </c:pt>
                <c:pt idx="83">
                  <c:v>10</c:v>
                </c:pt>
                <c:pt idx="84">
                  <c:v>9</c:v>
                </c:pt>
                <c:pt idx="85">
                  <c:v>16</c:v>
                </c:pt>
                <c:pt idx="86">
                  <c:v>15</c:v>
                </c:pt>
                <c:pt idx="87">
                  <c:v>21</c:v>
                </c:pt>
                <c:pt idx="88">
                  <c:v>23</c:v>
                </c:pt>
                <c:pt idx="89">
                  <c:v>15</c:v>
                </c:pt>
                <c:pt idx="90">
                  <c:v>15</c:v>
                </c:pt>
                <c:pt idx="91">
                  <c:v>22</c:v>
                </c:pt>
                <c:pt idx="92">
                  <c:v>20</c:v>
                </c:pt>
                <c:pt idx="93">
                  <c:v>19</c:v>
                </c:pt>
                <c:pt idx="94">
                  <c:v>36</c:v>
                </c:pt>
                <c:pt idx="95">
                  <c:v>34</c:v>
                </c:pt>
                <c:pt idx="96">
                  <c:v>33</c:v>
                </c:pt>
                <c:pt idx="97">
                  <c:v>20</c:v>
                </c:pt>
                <c:pt idx="98">
                  <c:v>45</c:v>
                </c:pt>
                <c:pt idx="99">
                  <c:v>27</c:v>
                </c:pt>
                <c:pt idx="100">
                  <c:v>47</c:v>
                </c:pt>
                <c:pt idx="101">
                  <c:v>35</c:v>
                </c:pt>
                <c:pt idx="102">
                  <c:v>57</c:v>
                </c:pt>
                <c:pt idx="103">
                  <c:v>31</c:v>
                </c:pt>
                <c:pt idx="104">
                  <c:v>46</c:v>
                </c:pt>
                <c:pt idx="105">
                  <c:v>52</c:v>
                </c:pt>
                <c:pt idx="106">
                  <c:v>78</c:v>
                </c:pt>
                <c:pt idx="107">
                  <c:v>73</c:v>
                </c:pt>
                <c:pt idx="108">
                  <c:v>135</c:v>
                </c:pt>
                <c:pt idx="109">
                  <c:v>86</c:v>
                </c:pt>
                <c:pt idx="110">
                  <c:v>74</c:v>
                </c:pt>
                <c:pt idx="111">
                  <c:v>59</c:v>
                </c:pt>
                <c:pt idx="112">
                  <c:v>104</c:v>
                </c:pt>
                <c:pt idx="113">
                  <c:v>105</c:v>
                </c:pt>
                <c:pt idx="114">
                  <c:v>138</c:v>
                </c:pt>
                <c:pt idx="115">
                  <c:v>143</c:v>
                </c:pt>
                <c:pt idx="116">
                  <c:v>135</c:v>
                </c:pt>
                <c:pt idx="117">
                  <c:v>106</c:v>
                </c:pt>
                <c:pt idx="118">
                  <c:v>117</c:v>
                </c:pt>
                <c:pt idx="119">
                  <c:v>100</c:v>
                </c:pt>
                <c:pt idx="120">
                  <c:v>188</c:v>
                </c:pt>
                <c:pt idx="121">
                  <c:v>193</c:v>
                </c:pt>
                <c:pt idx="122">
                  <c:v>2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4A3-4CB3-9339-304CB1D10FBD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List1!$B$1:$DT$1</c:f>
              <c:numCache>
                <c:formatCode>d/m;@</c:formatCode>
                <c:ptCount val="123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</c:numCache>
            </c:numRef>
          </c:cat>
          <c:val>
            <c:numRef>
              <c:f>List1!$B$3:$DT$3</c:f>
              <c:numCache>
                <c:formatCode>General</c:formatCode>
                <c:ptCount val="123"/>
                <c:pt idx="0">
                  <c:v>28</c:v>
                </c:pt>
                <c:pt idx="1">
                  <c:v>38</c:v>
                </c:pt>
                <c:pt idx="2">
                  <c:v>20</c:v>
                </c:pt>
                <c:pt idx="3">
                  <c:v>28</c:v>
                </c:pt>
                <c:pt idx="4">
                  <c:v>15</c:v>
                </c:pt>
                <c:pt idx="5">
                  <c:v>12</c:v>
                </c:pt>
                <c:pt idx="6">
                  <c:v>14</c:v>
                </c:pt>
                <c:pt idx="7">
                  <c:v>23</c:v>
                </c:pt>
                <c:pt idx="8">
                  <c:v>15</c:v>
                </c:pt>
                <c:pt idx="9">
                  <c:v>18</c:v>
                </c:pt>
                <c:pt idx="10">
                  <c:v>10</c:v>
                </c:pt>
                <c:pt idx="11">
                  <c:v>8</c:v>
                </c:pt>
                <c:pt idx="12">
                  <c:v>5</c:v>
                </c:pt>
                <c:pt idx="13">
                  <c:v>9</c:v>
                </c:pt>
                <c:pt idx="14">
                  <c:v>9</c:v>
                </c:pt>
                <c:pt idx="15">
                  <c:v>6</c:v>
                </c:pt>
                <c:pt idx="16">
                  <c:v>24</c:v>
                </c:pt>
                <c:pt idx="17">
                  <c:v>8</c:v>
                </c:pt>
                <c:pt idx="18">
                  <c:v>10</c:v>
                </c:pt>
                <c:pt idx="19">
                  <c:v>2</c:v>
                </c:pt>
                <c:pt idx="20">
                  <c:v>8</c:v>
                </c:pt>
                <c:pt idx="21">
                  <c:v>7</c:v>
                </c:pt>
                <c:pt idx="22">
                  <c:v>7</c:v>
                </c:pt>
                <c:pt idx="23">
                  <c:v>4</c:v>
                </c:pt>
                <c:pt idx="24">
                  <c:v>6</c:v>
                </c:pt>
                <c:pt idx="25">
                  <c:v>2</c:v>
                </c:pt>
                <c:pt idx="26">
                  <c:v>2</c:v>
                </c:pt>
                <c:pt idx="27">
                  <c:v>7</c:v>
                </c:pt>
                <c:pt idx="28">
                  <c:v>2</c:v>
                </c:pt>
                <c:pt idx="29">
                  <c:v>10</c:v>
                </c:pt>
                <c:pt idx="30">
                  <c:v>4</c:v>
                </c:pt>
                <c:pt idx="31">
                  <c:v>2</c:v>
                </c:pt>
                <c:pt idx="32">
                  <c:v>2</c:v>
                </c:pt>
                <c:pt idx="33">
                  <c:v>3</c:v>
                </c:pt>
                <c:pt idx="34">
                  <c:v>2</c:v>
                </c:pt>
                <c:pt idx="35">
                  <c:v>0</c:v>
                </c:pt>
                <c:pt idx="36">
                  <c:v>8</c:v>
                </c:pt>
                <c:pt idx="37">
                  <c:v>4</c:v>
                </c:pt>
                <c:pt idx="38">
                  <c:v>5</c:v>
                </c:pt>
                <c:pt idx="39">
                  <c:v>3</c:v>
                </c:pt>
                <c:pt idx="40">
                  <c:v>5</c:v>
                </c:pt>
                <c:pt idx="41">
                  <c:v>8</c:v>
                </c:pt>
                <c:pt idx="42">
                  <c:v>0</c:v>
                </c:pt>
                <c:pt idx="43">
                  <c:v>5</c:v>
                </c:pt>
                <c:pt idx="44">
                  <c:v>6</c:v>
                </c:pt>
                <c:pt idx="45">
                  <c:v>6</c:v>
                </c:pt>
                <c:pt idx="46">
                  <c:v>4</c:v>
                </c:pt>
                <c:pt idx="47">
                  <c:v>2</c:v>
                </c:pt>
                <c:pt idx="48">
                  <c:v>10</c:v>
                </c:pt>
                <c:pt idx="49">
                  <c:v>5</c:v>
                </c:pt>
                <c:pt idx="50">
                  <c:v>6</c:v>
                </c:pt>
                <c:pt idx="51">
                  <c:v>6</c:v>
                </c:pt>
                <c:pt idx="52">
                  <c:v>5</c:v>
                </c:pt>
                <c:pt idx="53">
                  <c:v>6</c:v>
                </c:pt>
                <c:pt idx="54">
                  <c:v>8</c:v>
                </c:pt>
                <c:pt idx="55">
                  <c:v>14</c:v>
                </c:pt>
                <c:pt idx="56">
                  <c:v>3</c:v>
                </c:pt>
                <c:pt idx="57">
                  <c:v>7</c:v>
                </c:pt>
                <c:pt idx="58">
                  <c:v>11</c:v>
                </c:pt>
                <c:pt idx="59">
                  <c:v>4</c:v>
                </c:pt>
                <c:pt idx="60">
                  <c:v>5</c:v>
                </c:pt>
                <c:pt idx="61">
                  <c:v>4</c:v>
                </c:pt>
                <c:pt idx="62">
                  <c:v>9</c:v>
                </c:pt>
                <c:pt idx="63">
                  <c:v>3</c:v>
                </c:pt>
                <c:pt idx="64">
                  <c:v>12</c:v>
                </c:pt>
                <c:pt idx="65">
                  <c:v>3</c:v>
                </c:pt>
                <c:pt idx="66">
                  <c:v>9</c:v>
                </c:pt>
                <c:pt idx="67">
                  <c:v>6</c:v>
                </c:pt>
                <c:pt idx="68">
                  <c:v>2</c:v>
                </c:pt>
                <c:pt idx="69">
                  <c:v>7</c:v>
                </c:pt>
                <c:pt idx="70">
                  <c:v>7</c:v>
                </c:pt>
                <c:pt idx="71">
                  <c:v>7</c:v>
                </c:pt>
                <c:pt idx="72">
                  <c:v>5</c:v>
                </c:pt>
                <c:pt idx="73">
                  <c:v>6</c:v>
                </c:pt>
                <c:pt idx="74">
                  <c:v>9</c:v>
                </c:pt>
                <c:pt idx="75">
                  <c:v>5</c:v>
                </c:pt>
                <c:pt idx="76">
                  <c:v>10</c:v>
                </c:pt>
                <c:pt idx="77">
                  <c:v>7</c:v>
                </c:pt>
                <c:pt idx="78">
                  <c:v>9</c:v>
                </c:pt>
                <c:pt idx="79">
                  <c:v>10</c:v>
                </c:pt>
                <c:pt idx="80">
                  <c:v>10</c:v>
                </c:pt>
                <c:pt idx="81">
                  <c:v>6</c:v>
                </c:pt>
                <c:pt idx="82">
                  <c:v>6</c:v>
                </c:pt>
                <c:pt idx="83">
                  <c:v>8</c:v>
                </c:pt>
                <c:pt idx="84">
                  <c:v>11</c:v>
                </c:pt>
                <c:pt idx="85">
                  <c:v>10</c:v>
                </c:pt>
                <c:pt idx="86">
                  <c:v>7</c:v>
                </c:pt>
                <c:pt idx="87">
                  <c:v>7</c:v>
                </c:pt>
                <c:pt idx="88">
                  <c:v>5</c:v>
                </c:pt>
                <c:pt idx="89">
                  <c:v>3</c:v>
                </c:pt>
                <c:pt idx="90">
                  <c:v>4</c:v>
                </c:pt>
                <c:pt idx="91">
                  <c:v>9</c:v>
                </c:pt>
                <c:pt idx="92">
                  <c:v>15</c:v>
                </c:pt>
                <c:pt idx="93">
                  <c:v>10</c:v>
                </c:pt>
                <c:pt idx="94">
                  <c:v>14</c:v>
                </c:pt>
                <c:pt idx="95">
                  <c:v>7</c:v>
                </c:pt>
                <c:pt idx="96">
                  <c:v>10</c:v>
                </c:pt>
                <c:pt idx="97">
                  <c:v>17</c:v>
                </c:pt>
                <c:pt idx="98">
                  <c:v>13</c:v>
                </c:pt>
                <c:pt idx="99">
                  <c:v>15</c:v>
                </c:pt>
                <c:pt idx="100">
                  <c:v>16</c:v>
                </c:pt>
                <c:pt idx="101">
                  <c:v>13</c:v>
                </c:pt>
                <c:pt idx="102">
                  <c:v>12</c:v>
                </c:pt>
                <c:pt idx="103">
                  <c:v>17</c:v>
                </c:pt>
                <c:pt idx="104">
                  <c:v>29</c:v>
                </c:pt>
                <c:pt idx="105">
                  <c:v>25</c:v>
                </c:pt>
                <c:pt idx="106">
                  <c:v>17</c:v>
                </c:pt>
                <c:pt idx="107">
                  <c:v>18</c:v>
                </c:pt>
                <c:pt idx="108">
                  <c:v>31</c:v>
                </c:pt>
                <c:pt idx="109">
                  <c:v>9</c:v>
                </c:pt>
                <c:pt idx="110">
                  <c:v>14</c:v>
                </c:pt>
                <c:pt idx="111">
                  <c:v>23</c:v>
                </c:pt>
                <c:pt idx="112">
                  <c:v>18</c:v>
                </c:pt>
                <c:pt idx="113">
                  <c:v>14</c:v>
                </c:pt>
                <c:pt idx="114">
                  <c:v>20</c:v>
                </c:pt>
                <c:pt idx="115">
                  <c:v>16</c:v>
                </c:pt>
                <c:pt idx="116">
                  <c:v>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A3-4CB3-9339-304CB1D10F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d/m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3"/>
        <c:majorTimeUnit val="days"/>
      </c:dateAx>
      <c:valAx>
        <c:axId val="494149648"/>
        <c:scaling>
          <c:orientation val="minMax"/>
          <c:max val="2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List1!$B$1:$DT$1</c:f>
              <c:numCache>
                <c:formatCode>d/m;@</c:formatCode>
                <c:ptCount val="123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</c:numCache>
            </c:numRef>
          </c:cat>
          <c:val>
            <c:numRef>
              <c:f>List1!$B$2:$DT$2</c:f>
              <c:numCache>
                <c:formatCode>General</c:formatCode>
                <c:ptCount val="123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2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1</c:v>
                </c:pt>
                <c:pt idx="22">
                  <c:v>0</c:v>
                </c:pt>
                <c:pt idx="23">
                  <c:v>2</c:v>
                </c:pt>
                <c:pt idx="24">
                  <c:v>2</c:v>
                </c:pt>
                <c:pt idx="25">
                  <c:v>0</c:v>
                </c:pt>
                <c:pt idx="26">
                  <c:v>2</c:v>
                </c:pt>
                <c:pt idx="27">
                  <c:v>1</c:v>
                </c:pt>
                <c:pt idx="28">
                  <c:v>2</c:v>
                </c:pt>
                <c:pt idx="29">
                  <c:v>0</c:v>
                </c:pt>
                <c:pt idx="30">
                  <c:v>3</c:v>
                </c:pt>
                <c:pt idx="31">
                  <c:v>1</c:v>
                </c:pt>
                <c:pt idx="32">
                  <c:v>1</c:v>
                </c:pt>
                <c:pt idx="33">
                  <c:v>2</c:v>
                </c:pt>
                <c:pt idx="34">
                  <c:v>1</c:v>
                </c:pt>
                <c:pt idx="35">
                  <c:v>0</c:v>
                </c:pt>
                <c:pt idx="36">
                  <c:v>2</c:v>
                </c:pt>
                <c:pt idx="37">
                  <c:v>3</c:v>
                </c:pt>
                <c:pt idx="38">
                  <c:v>4</c:v>
                </c:pt>
                <c:pt idx="39">
                  <c:v>1</c:v>
                </c:pt>
                <c:pt idx="40">
                  <c:v>0</c:v>
                </c:pt>
                <c:pt idx="41">
                  <c:v>1</c:v>
                </c:pt>
                <c:pt idx="42">
                  <c:v>2</c:v>
                </c:pt>
                <c:pt idx="43">
                  <c:v>0</c:v>
                </c:pt>
                <c:pt idx="44">
                  <c:v>0</c:v>
                </c:pt>
                <c:pt idx="45">
                  <c:v>2</c:v>
                </c:pt>
                <c:pt idx="46">
                  <c:v>0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0</c:v>
                </c:pt>
                <c:pt idx="51">
                  <c:v>0</c:v>
                </c:pt>
                <c:pt idx="52">
                  <c:v>2</c:v>
                </c:pt>
                <c:pt idx="53">
                  <c:v>1</c:v>
                </c:pt>
                <c:pt idx="54">
                  <c:v>0</c:v>
                </c:pt>
                <c:pt idx="55">
                  <c:v>1</c:v>
                </c:pt>
                <c:pt idx="56">
                  <c:v>3</c:v>
                </c:pt>
                <c:pt idx="57">
                  <c:v>1</c:v>
                </c:pt>
                <c:pt idx="58">
                  <c:v>2</c:v>
                </c:pt>
                <c:pt idx="59">
                  <c:v>1</c:v>
                </c:pt>
                <c:pt idx="60">
                  <c:v>1</c:v>
                </c:pt>
                <c:pt idx="61">
                  <c:v>0</c:v>
                </c:pt>
                <c:pt idx="62">
                  <c:v>1</c:v>
                </c:pt>
                <c:pt idx="63">
                  <c:v>1</c:v>
                </c:pt>
                <c:pt idx="64">
                  <c:v>2</c:v>
                </c:pt>
                <c:pt idx="65">
                  <c:v>2</c:v>
                </c:pt>
                <c:pt idx="66">
                  <c:v>0</c:v>
                </c:pt>
                <c:pt idx="67">
                  <c:v>4</c:v>
                </c:pt>
                <c:pt idx="68">
                  <c:v>1</c:v>
                </c:pt>
                <c:pt idx="69">
                  <c:v>6</c:v>
                </c:pt>
                <c:pt idx="70">
                  <c:v>2</c:v>
                </c:pt>
                <c:pt idx="71">
                  <c:v>1</c:v>
                </c:pt>
                <c:pt idx="72">
                  <c:v>3</c:v>
                </c:pt>
                <c:pt idx="73">
                  <c:v>2</c:v>
                </c:pt>
                <c:pt idx="74">
                  <c:v>1</c:v>
                </c:pt>
                <c:pt idx="75">
                  <c:v>2</c:v>
                </c:pt>
                <c:pt idx="76">
                  <c:v>0</c:v>
                </c:pt>
                <c:pt idx="77">
                  <c:v>2</c:v>
                </c:pt>
                <c:pt idx="78">
                  <c:v>4</c:v>
                </c:pt>
                <c:pt idx="79">
                  <c:v>2</c:v>
                </c:pt>
                <c:pt idx="80">
                  <c:v>1</c:v>
                </c:pt>
                <c:pt idx="81">
                  <c:v>6</c:v>
                </c:pt>
                <c:pt idx="82">
                  <c:v>3</c:v>
                </c:pt>
                <c:pt idx="83">
                  <c:v>3</c:v>
                </c:pt>
                <c:pt idx="84">
                  <c:v>5</c:v>
                </c:pt>
                <c:pt idx="85">
                  <c:v>2</c:v>
                </c:pt>
                <c:pt idx="86">
                  <c:v>4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4</c:v>
                </c:pt>
                <c:pt idx="91">
                  <c:v>3</c:v>
                </c:pt>
                <c:pt idx="92">
                  <c:v>6</c:v>
                </c:pt>
                <c:pt idx="93">
                  <c:v>5</c:v>
                </c:pt>
                <c:pt idx="94">
                  <c:v>7</c:v>
                </c:pt>
                <c:pt idx="95">
                  <c:v>7</c:v>
                </c:pt>
                <c:pt idx="96">
                  <c:v>4</c:v>
                </c:pt>
                <c:pt idx="97">
                  <c:v>5</c:v>
                </c:pt>
                <c:pt idx="98">
                  <c:v>7</c:v>
                </c:pt>
                <c:pt idx="99">
                  <c:v>8</c:v>
                </c:pt>
                <c:pt idx="100">
                  <c:v>10</c:v>
                </c:pt>
                <c:pt idx="101">
                  <c:v>3</c:v>
                </c:pt>
                <c:pt idx="102">
                  <c:v>11</c:v>
                </c:pt>
                <c:pt idx="103">
                  <c:v>6</c:v>
                </c:pt>
                <c:pt idx="104">
                  <c:v>10</c:v>
                </c:pt>
                <c:pt idx="105">
                  <c:v>8</c:v>
                </c:pt>
                <c:pt idx="106">
                  <c:v>14</c:v>
                </c:pt>
                <c:pt idx="107">
                  <c:v>9</c:v>
                </c:pt>
                <c:pt idx="108">
                  <c:v>15</c:v>
                </c:pt>
                <c:pt idx="109">
                  <c:v>26</c:v>
                </c:pt>
                <c:pt idx="110">
                  <c:v>25</c:v>
                </c:pt>
                <c:pt idx="111">
                  <c:v>18</c:v>
                </c:pt>
                <c:pt idx="112">
                  <c:v>31</c:v>
                </c:pt>
                <c:pt idx="113">
                  <c:v>23</c:v>
                </c:pt>
                <c:pt idx="114">
                  <c:v>23</c:v>
                </c:pt>
                <c:pt idx="115">
                  <c:v>28</c:v>
                </c:pt>
                <c:pt idx="116">
                  <c:v>23</c:v>
                </c:pt>
                <c:pt idx="117">
                  <c:v>25</c:v>
                </c:pt>
                <c:pt idx="118">
                  <c:v>24</c:v>
                </c:pt>
                <c:pt idx="119">
                  <c:v>42</c:v>
                </c:pt>
                <c:pt idx="120">
                  <c:v>25</c:v>
                </c:pt>
                <c:pt idx="121">
                  <c:v>32</c:v>
                </c:pt>
                <c:pt idx="122">
                  <c:v>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4A3-4CB3-9339-304CB1D10FBD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List1!$B$1:$DT$1</c:f>
              <c:numCache>
                <c:formatCode>d/m;@</c:formatCode>
                <c:ptCount val="123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</c:numCache>
            </c:numRef>
          </c:cat>
          <c:val>
            <c:numRef>
              <c:f>List1!$B$3:$DT$3</c:f>
              <c:numCache>
                <c:formatCode>General</c:formatCode>
                <c:ptCount val="123"/>
                <c:pt idx="0">
                  <c:v>4</c:v>
                </c:pt>
                <c:pt idx="1">
                  <c:v>8</c:v>
                </c:pt>
                <c:pt idx="2">
                  <c:v>7</c:v>
                </c:pt>
                <c:pt idx="3">
                  <c:v>5</c:v>
                </c:pt>
                <c:pt idx="4">
                  <c:v>1</c:v>
                </c:pt>
                <c:pt idx="5">
                  <c:v>3</c:v>
                </c:pt>
                <c:pt idx="6">
                  <c:v>5</c:v>
                </c:pt>
                <c:pt idx="7">
                  <c:v>6</c:v>
                </c:pt>
                <c:pt idx="8">
                  <c:v>4</c:v>
                </c:pt>
                <c:pt idx="9">
                  <c:v>4</c:v>
                </c:pt>
                <c:pt idx="10">
                  <c:v>0</c:v>
                </c:pt>
                <c:pt idx="11">
                  <c:v>4</c:v>
                </c:pt>
                <c:pt idx="12">
                  <c:v>0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4</c:v>
                </c:pt>
                <c:pt idx="17">
                  <c:v>4</c:v>
                </c:pt>
                <c:pt idx="18">
                  <c:v>1</c:v>
                </c:pt>
                <c:pt idx="19">
                  <c:v>2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2</c:v>
                </c:pt>
                <c:pt idx="24">
                  <c:v>3</c:v>
                </c:pt>
                <c:pt idx="25">
                  <c:v>0</c:v>
                </c:pt>
                <c:pt idx="26">
                  <c:v>0</c:v>
                </c:pt>
                <c:pt idx="27">
                  <c:v>3</c:v>
                </c:pt>
                <c:pt idx="28">
                  <c:v>1</c:v>
                </c:pt>
                <c:pt idx="29">
                  <c:v>2</c:v>
                </c:pt>
                <c:pt idx="30">
                  <c:v>2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1</c:v>
                </c:pt>
                <c:pt idx="43">
                  <c:v>3</c:v>
                </c:pt>
                <c:pt idx="44">
                  <c:v>1</c:v>
                </c:pt>
                <c:pt idx="45">
                  <c:v>2</c:v>
                </c:pt>
                <c:pt idx="46">
                  <c:v>1</c:v>
                </c:pt>
                <c:pt idx="47">
                  <c:v>1</c:v>
                </c:pt>
                <c:pt idx="48">
                  <c:v>2</c:v>
                </c:pt>
                <c:pt idx="49">
                  <c:v>1</c:v>
                </c:pt>
                <c:pt idx="50">
                  <c:v>2</c:v>
                </c:pt>
                <c:pt idx="51">
                  <c:v>3</c:v>
                </c:pt>
                <c:pt idx="52">
                  <c:v>1</c:v>
                </c:pt>
                <c:pt idx="53">
                  <c:v>0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4</c:v>
                </c:pt>
                <c:pt idx="59">
                  <c:v>2</c:v>
                </c:pt>
                <c:pt idx="60">
                  <c:v>2</c:v>
                </c:pt>
                <c:pt idx="61">
                  <c:v>1</c:v>
                </c:pt>
                <c:pt idx="62">
                  <c:v>0</c:v>
                </c:pt>
                <c:pt idx="63">
                  <c:v>3</c:v>
                </c:pt>
                <c:pt idx="64">
                  <c:v>1</c:v>
                </c:pt>
                <c:pt idx="65">
                  <c:v>0</c:v>
                </c:pt>
                <c:pt idx="66">
                  <c:v>3</c:v>
                </c:pt>
                <c:pt idx="67">
                  <c:v>2</c:v>
                </c:pt>
                <c:pt idx="68">
                  <c:v>3</c:v>
                </c:pt>
                <c:pt idx="69">
                  <c:v>2</c:v>
                </c:pt>
                <c:pt idx="70">
                  <c:v>3</c:v>
                </c:pt>
                <c:pt idx="71">
                  <c:v>3</c:v>
                </c:pt>
                <c:pt idx="72">
                  <c:v>2</c:v>
                </c:pt>
                <c:pt idx="73">
                  <c:v>0</c:v>
                </c:pt>
                <c:pt idx="74">
                  <c:v>2</c:v>
                </c:pt>
                <c:pt idx="75">
                  <c:v>1</c:v>
                </c:pt>
                <c:pt idx="76">
                  <c:v>3</c:v>
                </c:pt>
                <c:pt idx="77">
                  <c:v>4</c:v>
                </c:pt>
                <c:pt idx="78">
                  <c:v>2</c:v>
                </c:pt>
                <c:pt idx="79">
                  <c:v>4</c:v>
                </c:pt>
                <c:pt idx="80">
                  <c:v>4</c:v>
                </c:pt>
                <c:pt idx="81">
                  <c:v>1</c:v>
                </c:pt>
                <c:pt idx="82">
                  <c:v>1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1</c:v>
                </c:pt>
                <c:pt idx="87">
                  <c:v>3</c:v>
                </c:pt>
                <c:pt idx="88">
                  <c:v>1</c:v>
                </c:pt>
                <c:pt idx="89">
                  <c:v>0</c:v>
                </c:pt>
                <c:pt idx="90">
                  <c:v>0</c:v>
                </c:pt>
                <c:pt idx="91">
                  <c:v>2</c:v>
                </c:pt>
                <c:pt idx="92">
                  <c:v>3</c:v>
                </c:pt>
                <c:pt idx="93">
                  <c:v>1</c:v>
                </c:pt>
                <c:pt idx="94">
                  <c:v>4</c:v>
                </c:pt>
                <c:pt idx="95">
                  <c:v>3</c:v>
                </c:pt>
                <c:pt idx="96">
                  <c:v>2</c:v>
                </c:pt>
                <c:pt idx="97">
                  <c:v>6</c:v>
                </c:pt>
                <c:pt idx="98">
                  <c:v>4</c:v>
                </c:pt>
                <c:pt idx="99">
                  <c:v>1</c:v>
                </c:pt>
                <c:pt idx="100">
                  <c:v>2</c:v>
                </c:pt>
                <c:pt idx="101">
                  <c:v>4</c:v>
                </c:pt>
                <c:pt idx="102">
                  <c:v>3</c:v>
                </c:pt>
                <c:pt idx="103">
                  <c:v>4</c:v>
                </c:pt>
                <c:pt idx="104">
                  <c:v>8</c:v>
                </c:pt>
                <c:pt idx="105">
                  <c:v>8</c:v>
                </c:pt>
                <c:pt idx="106">
                  <c:v>3</c:v>
                </c:pt>
                <c:pt idx="107">
                  <c:v>7</c:v>
                </c:pt>
                <c:pt idx="108">
                  <c:v>5</c:v>
                </c:pt>
                <c:pt idx="109">
                  <c:v>3</c:v>
                </c:pt>
                <c:pt idx="110">
                  <c:v>5</c:v>
                </c:pt>
                <c:pt idx="111">
                  <c:v>4</c:v>
                </c:pt>
                <c:pt idx="112">
                  <c:v>4</c:v>
                </c:pt>
                <c:pt idx="113">
                  <c:v>2</c:v>
                </c:pt>
                <c:pt idx="114">
                  <c:v>5</c:v>
                </c:pt>
                <c:pt idx="115">
                  <c:v>3</c:v>
                </c:pt>
                <c:pt idx="116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A3-4CB3-9339-304CB1D10F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d/m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3"/>
        <c:majorTimeUnit val="days"/>
      </c:dateAx>
      <c:valAx>
        <c:axId val="494149648"/>
        <c:scaling>
          <c:orientation val="minMax"/>
          <c:max val="5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G$2:$G$158</c:f>
              <c:numCache>
                <c:formatCode>General</c:formatCode>
                <c:ptCount val="157"/>
                <c:pt idx="0">
                  <c:v>2460</c:v>
                </c:pt>
                <c:pt idx="1">
                  <c:v>2485</c:v>
                </c:pt>
                <c:pt idx="2">
                  <c:v>2677</c:v>
                </c:pt>
                <c:pt idx="3">
                  <c:v>2525</c:v>
                </c:pt>
                <c:pt idx="4">
                  <c:v>2351</c:v>
                </c:pt>
                <c:pt idx="5">
                  <c:v>2220</c:v>
                </c:pt>
                <c:pt idx="6">
                  <c:v>2126</c:v>
                </c:pt>
                <c:pt idx="7">
                  <c:v>1884</c:v>
                </c:pt>
                <c:pt idx="8">
                  <c:v>1865</c:v>
                </c:pt>
                <c:pt idx="9">
                  <c:v>1984</c:v>
                </c:pt>
                <c:pt idx="10">
                  <c:v>1830</c:v>
                </c:pt>
                <c:pt idx="11">
                  <c:v>1721</c:v>
                </c:pt>
                <c:pt idx="12">
                  <c:v>1622</c:v>
                </c:pt>
                <c:pt idx="13">
                  <c:v>1531</c:v>
                </c:pt>
                <c:pt idx="14">
                  <c:v>1329</c:v>
                </c:pt>
                <c:pt idx="15">
                  <c:v>1315</c:v>
                </c:pt>
                <c:pt idx="16">
                  <c:v>1395</c:v>
                </c:pt>
                <c:pt idx="17">
                  <c:v>1258</c:v>
                </c:pt>
                <c:pt idx="18">
                  <c:v>1149</c:v>
                </c:pt>
                <c:pt idx="19">
                  <c:v>1060</c:v>
                </c:pt>
                <c:pt idx="20">
                  <c:v>1011</c:v>
                </c:pt>
                <c:pt idx="21">
                  <c:v>867</c:v>
                </c:pt>
                <c:pt idx="22">
                  <c:v>848</c:v>
                </c:pt>
                <c:pt idx="23">
                  <c:v>879</c:v>
                </c:pt>
                <c:pt idx="24">
                  <c:v>787</c:v>
                </c:pt>
                <c:pt idx="25">
                  <c:v>762</c:v>
                </c:pt>
                <c:pt idx="26">
                  <c:v>669</c:v>
                </c:pt>
                <c:pt idx="27">
                  <c:v>612</c:v>
                </c:pt>
                <c:pt idx="28">
                  <c:v>513</c:v>
                </c:pt>
                <c:pt idx="29">
                  <c:v>511</c:v>
                </c:pt>
                <c:pt idx="30">
                  <c:v>549</c:v>
                </c:pt>
                <c:pt idx="31">
                  <c:v>474</c:v>
                </c:pt>
                <c:pt idx="32">
                  <c:v>438</c:v>
                </c:pt>
                <c:pt idx="33">
                  <c:v>389</c:v>
                </c:pt>
                <c:pt idx="34">
                  <c:v>362</c:v>
                </c:pt>
                <c:pt idx="35">
                  <c:v>298</c:v>
                </c:pt>
                <c:pt idx="36">
                  <c:v>298</c:v>
                </c:pt>
                <c:pt idx="37">
                  <c:v>298</c:v>
                </c:pt>
                <c:pt idx="38">
                  <c:v>282</c:v>
                </c:pt>
                <c:pt idx="39">
                  <c:v>254</c:v>
                </c:pt>
                <c:pt idx="40">
                  <c:v>232</c:v>
                </c:pt>
                <c:pt idx="41">
                  <c:v>183</c:v>
                </c:pt>
                <c:pt idx="42">
                  <c:v>158</c:v>
                </c:pt>
                <c:pt idx="43">
                  <c:v>152</c:v>
                </c:pt>
                <c:pt idx="44">
                  <c:v>168</c:v>
                </c:pt>
                <c:pt idx="45">
                  <c:v>140</c:v>
                </c:pt>
                <c:pt idx="46">
                  <c:v>120</c:v>
                </c:pt>
                <c:pt idx="47">
                  <c:v>119</c:v>
                </c:pt>
                <c:pt idx="48">
                  <c:v>110</c:v>
                </c:pt>
                <c:pt idx="49">
                  <c:v>86</c:v>
                </c:pt>
                <c:pt idx="50">
                  <c:v>83</c:v>
                </c:pt>
                <c:pt idx="51">
                  <c:v>88</c:v>
                </c:pt>
                <c:pt idx="52">
                  <c:v>85</c:v>
                </c:pt>
                <c:pt idx="53">
                  <c:v>81</c:v>
                </c:pt>
                <c:pt idx="54">
                  <c:v>79</c:v>
                </c:pt>
                <c:pt idx="55">
                  <c:v>66</c:v>
                </c:pt>
                <c:pt idx="56">
                  <c:v>55</c:v>
                </c:pt>
                <c:pt idx="57">
                  <c:v>56</c:v>
                </c:pt>
                <c:pt idx="58">
                  <c:v>62</c:v>
                </c:pt>
                <c:pt idx="59">
                  <c:v>57</c:v>
                </c:pt>
                <c:pt idx="60">
                  <c:v>58</c:v>
                </c:pt>
                <c:pt idx="61">
                  <c:v>49</c:v>
                </c:pt>
                <c:pt idx="62">
                  <c:v>39</c:v>
                </c:pt>
                <c:pt idx="63">
                  <c:v>28</c:v>
                </c:pt>
                <c:pt idx="64">
                  <c:v>31</c:v>
                </c:pt>
                <c:pt idx="65">
                  <c:v>33</c:v>
                </c:pt>
                <c:pt idx="66">
                  <c:v>32</c:v>
                </c:pt>
                <c:pt idx="67">
                  <c:v>42</c:v>
                </c:pt>
                <c:pt idx="68">
                  <c:v>39</c:v>
                </c:pt>
                <c:pt idx="69">
                  <c:v>35</c:v>
                </c:pt>
                <c:pt idx="70">
                  <c:v>25</c:v>
                </c:pt>
                <c:pt idx="71">
                  <c:v>25</c:v>
                </c:pt>
                <c:pt idx="72">
                  <c:v>34</c:v>
                </c:pt>
                <c:pt idx="73">
                  <c:v>32</c:v>
                </c:pt>
                <c:pt idx="74">
                  <c:v>29</c:v>
                </c:pt>
                <c:pt idx="75">
                  <c:v>30</c:v>
                </c:pt>
                <c:pt idx="76">
                  <c:v>32</c:v>
                </c:pt>
                <c:pt idx="77">
                  <c:v>30</c:v>
                </c:pt>
                <c:pt idx="78">
                  <c:v>32</c:v>
                </c:pt>
                <c:pt idx="79">
                  <c:v>44</c:v>
                </c:pt>
                <c:pt idx="80">
                  <c:v>41</c:v>
                </c:pt>
                <c:pt idx="81">
                  <c:v>41</c:v>
                </c:pt>
                <c:pt idx="82">
                  <c:v>41</c:v>
                </c:pt>
                <c:pt idx="83">
                  <c:v>40</c:v>
                </c:pt>
                <c:pt idx="84">
                  <c:v>38</c:v>
                </c:pt>
                <c:pt idx="85">
                  <c:v>45</c:v>
                </c:pt>
                <c:pt idx="86">
                  <c:v>57</c:v>
                </c:pt>
                <c:pt idx="87">
                  <c:v>52</c:v>
                </c:pt>
                <c:pt idx="88">
                  <c:v>52</c:v>
                </c:pt>
                <c:pt idx="89">
                  <c:v>58</c:v>
                </c:pt>
                <c:pt idx="90">
                  <c:v>58</c:v>
                </c:pt>
                <c:pt idx="91">
                  <c:v>54</c:v>
                </c:pt>
                <c:pt idx="92">
                  <c:v>48</c:v>
                </c:pt>
                <c:pt idx="93">
                  <c:v>57</c:v>
                </c:pt>
                <c:pt idx="94">
                  <c:v>51</c:v>
                </c:pt>
                <c:pt idx="95">
                  <c:v>55</c:v>
                </c:pt>
                <c:pt idx="96">
                  <c:v>55</c:v>
                </c:pt>
                <c:pt idx="97">
                  <c:v>56</c:v>
                </c:pt>
                <c:pt idx="98">
                  <c:v>56</c:v>
                </c:pt>
                <c:pt idx="99">
                  <c:v>55</c:v>
                </c:pt>
                <c:pt idx="100">
                  <c:v>64</c:v>
                </c:pt>
                <c:pt idx="101">
                  <c:v>58</c:v>
                </c:pt>
                <c:pt idx="102">
                  <c:v>61</c:v>
                </c:pt>
                <c:pt idx="103">
                  <c:v>61</c:v>
                </c:pt>
                <c:pt idx="104">
                  <c:v>54</c:v>
                </c:pt>
                <c:pt idx="105">
                  <c:v>57</c:v>
                </c:pt>
                <c:pt idx="106">
                  <c:v>58</c:v>
                </c:pt>
                <c:pt idx="107">
                  <c:v>69</c:v>
                </c:pt>
                <c:pt idx="108">
                  <c:v>69</c:v>
                </c:pt>
                <c:pt idx="109">
                  <c:v>72</c:v>
                </c:pt>
                <c:pt idx="110">
                  <c:v>69</c:v>
                </c:pt>
                <c:pt idx="111">
                  <c:v>71</c:v>
                </c:pt>
                <c:pt idx="112">
                  <c:v>60</c:v>
                </c:pt>
                <c:pt idx="113">
                  <c:v>65</c:v>
                </c:pt>
                <c:pt idx="114">
                  <c:v>69</c:v>
                </c:pt>
                <c:pt idx="115">
                  <c:v>68</c:v>
                </c:pt>
                <c:pt idx="116">
                  <c:v>71</c:v>
                </c:pt>
                <c:pt idx="117">
                  <c:v>69</c:v>
                </c:pt>
                <c:pt idx="118">
                  <c:v>62</c:v>
                </c:pt>
                <c:pt idx="119">
                  <c:v>56</c:v>
                </c:pt>
                <c:pt idx="120">
                  <c:v>54</c:v>
                </c:pt>
                <c:pt idx="121">
                  <c:v>60</c:v>
                </c:pt>
                <c:pt idx="122">
                  <c:v>55</c:v>
                </c:pt>
                <c:pt idx="123">
                  <c:v>62</c:v>
                </c:pt>
                <c:pt idx="124">
                  <c:v>64</c:v>
                </c:pt>
                <c:pt idx="125">
                  <c:v>63</c:v>
                </c:pt>
                <c:pt idx="126">
                  <c:v>60</c:v>
                </c:pt>
                <c:pt idx="127">
                  <c:v>67</c:v>
                </c:pt>
                <c:pt idx="128">
                  <c:v>91</c:v>
                </c:pt>
                <c:pt idx="129">
                  <c:v>96</c:v>
                </c:pt>
                <c:pt idx="130">
                  <c:v>101</c:v>
                </c:pt>
                <c:pt idx="131">
                  <c:v>112</c:v>
                </c:pt>
                <c:pt idx="132">
                  <c:v>116</c:v>
                </c:pt>
                <c:pt idx="133">
                  <c:v>115</c:v>
                </c:pt>
                <c:pt idx="134">
                  <c:v>128</c:v>
                </c:pt>
                <c:pt idx="135">
                  <c:v>157</c:v>
                </c:pt>
                <c:pt idx="136">
                  <c:v>162</c:v>
                </c:pt>
                <c:pt idx="137">
                  <c:v>167</c:v>
                </c:pt>
                <c:pt idx="138">
                  <c:v>164</c:v>
                </c:pt>
                <c:pt idx="139">
                  <c:v>179</c:v>
                </c:pt>
                <c:pt idx="140">
                  <c:v>157</c:v>
                </c:pt>
                <c:pt idx="141">
                  <c:v>160</c:v>
                </c:pt>
                <c:pt idx="142">
                  <c:v>178</c:v>
                </c:pt>
                <c:pt idx="143">
                  <c:v>173</c:v>
                </c:pt>
                <c:pt idx="144">
                  <c:v>172</c:v>
                </c:pt>
                <c:pt idx="145">
                  <c:v>172</c:v>
                </c:pt>
                <c:pt idx="146">
                  <c:v>170</c:v>
                </c:pt>
                <c:pt idx="147">
                  <c:v>1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C$2:$C$158</c:f>
              <c:numCache>
                <c:formatCode>General</c:formatCode>
                <c:ptCount val="157"/>
                <c:pt idx="0">
                  <c:v>2745.4409480921267</c:v>
                </c:pt>
                <c:pt idx="1">
                  <c:v>2599.4864312411491</c:v>
                </c:pt>
                <c:pt idx="2">
                  <c:v>2461.1120158242484</c:v>
                </c:pt>
                <c:pt idx="3">
                  <c:v>2328.5574060690005</c:v>
                </c:pt>
                <c:pt idx="4">
                  <c:v>2202.3465462161239</c:v>
                </c:pt>
                <c:pt idx="5">
                  <c:v>2080.9813165237711</c:v>
                </c:pt>
                <c:pt idx="6">
                  <c:v>1962.9858739693361</c:v>
                </c:pt>
                <c:pt idx="7">
                  <c:v>1849.2570707010016</c:v>
                </c:pt>
                <c:pt idx="8">
                  <c:v>1740.7225211859954</c:v>
                </c:pt>
                <c:pt idx="9">
                  <c:v>1636.2242146115354</c:v>
                </c:pt>
                <c:pt idx="10">
                  <c:v>1536.5058763651023</c:v>
                </c:pt>
                <c:pt idx="11">
                  <c:v>1442.6936224725391</c:v>
                </c:pt>
                <c:pt idx="12">
                  <c:v>1354.84540086331</c:v>
                </c:pt>
                <c:pt idx="13">
                  <c:v>1272.9398097046069</c:v>
                </c:pt>
                <c:pt idx="14">
                  <c:v>1196.803132099692</c:v>
                </c:pt>
                <c:pt idx="15">
                  <c:v>1125.6353428372063</c:v>
                </c:pt>
                <c:pt idx="16">
                  <c:v>1058.0912221249343</c:v>
                </c:pt>
                <c:pt idx="17">
                  <c:v>994.01618708564433</c:v>
                </c:pt>
                <c:pt idx="18">
                  <c:v>933.22094747312212</c:v>
                </c:pt>
                <c:pt idx="19">
                  <c:v>875.89969406294085</c:v>
                </c:pt>
                <c:pt idx="20">
                  <c:v>822.28247408174434</c:v>
                </c:pt>
                <c:pt idx="21">
                  <c:v>772.46942377116102</c:v>
                </c:pt>
                <c:pt idx="22">
                  <c:v>726.19393898047065</c:v>
                </c:pt>
                <c:pt idx="23">
                  <c:v>682.73022127481727</c:v>
                </c:pt>
                <c:pt idx="24">
                  <c:v>641.95803873380714</c:v>
                </c:pt>
                <c:pt idx="25">
                  <c:v>603.55282170833004</c:v>
                </c:pt>
                <c:pt idx="26">
                  <c:v>567.30337565589696</c:v>
                </c:pt>
                <c:pt idx="27">
                  <c:v>533.1446228526072</c:v>
                </c:pt>
                <c:pt idx="28">
                  <c:v>501.1508069200018</c:v>
                </c:pt>
                <c:pt idx="29">
                  <c:v>471.11614234999894</c:v>
                </c:pt>
                <c:pt idx="30">
                  <c:v>442.96367923113434</c:v>
                </c:pt>
                <c:pt idx="31">
                  <c:v>416.45814122699687</c:v>
                </c:pt>
                <c:pt idx="32">
                  <c:v>391.52477521568784</c:v>
                </c:pt>
                <c:pt idx="33">
                  <c:v>368.03407504654967</c:v>
                </c:pt>
                <c:pt idx="34">
                  <c:v>345.92487041167311</c:v>
                </c:pt>
                <c:pt idx="35">
                  <c:v>325.14107382375732</c:v>
                </c:pt>
                <c:pt idx="36">
                  <c:v>305.61642784463254</c:v>
                </c:pt>
                <c:pt idx="37">
                  <c:v>287.25842583963356</c:v>
                </c:pt>
                <c:pt idx="38">
                  <c:v>270.06099869236465</c:v>
                </c:pt>
                <c:pt idx="39">
                  <c:v>253.99333852935249</c:v>
                </c:pt>
                <c:pt idx="40">
                  <c:v>238.99545360576991</c:v>
                </c:pt>
                <c:pt idx="41">
                  <c:v>225.04759010540653</c:v>
                </c:pt>
                <c:pt idx="42">
                  <c:v>212.12796704763622</c:v>
                </c:pt>
                <c:pt idx="43">
                  <c:v>200.17880419731111</c:v>
                </c:pt>
                <c:pt idx="44">
                  <c:v>189.14469544361236</c:v>
                </c:pt>
                <c:pt idx="45">
                  <c:v>178.95058573500316</c:v>
                </c:pt>
                <c:pt idx="46">
                  <c:v>169.52760457893251</c:v>
                </c:pt>
                <c:pt idx="47">
                  <c:v>160.8055660931218</c:v>
                </c:pt>
                <c:pt idx="48">
                  <c:v>152.74505284033469</c:v>
                </c:pt>
                <c:pt idx="49">
                  <c:v>145.3148797439255</c:v>
                </c:pt>
                <c:pt idx="50">
                  <c:v>138.47202625579533</c:v>
                </c:pt>
                <c:pt idx="51">
                  <c:v>132.15062573348547</c:v>
                </c:pt>
                <c:pt idx="52">
                  <c:v>126.30370058744118</c:v>
                </c:pt>
                <c:pt idx="53">
                  <c:v>120.86183076193154</c:v>
                </c:pt>
                <c:pt idx="54">
                  <c:v>115.7668870074599</c:v>
                </c:pt>
                <c:pt idx="55">
                  <c:v>110.98526605855835</c:v>
                </c:pt>
                <c:pt idx="56">
                  <c:v>106.509540063831</c:v>
                </c:pt>
                <c:pt idx="57">
                  <c:v>102.30029673244914</c:v>
                </c:pt>
                <c:pt idx="58">
                  <c:v>98.328608793528574</c:v>
                </c:pt>
                <c:pt idx="59">
                  <c:v>94.574261878556456</c:v>
                </c:pt>
                <c:pt idx="60">
                  <c:v>91.008258445359161</c:v>
                </c:pt>
                <c:pt idx="61">
                  <c:v>87.605474914427873</c:v>
                </c:pt>
                <c:pt idx="62">
                  <c:v>84.348782033860431</c:v>
                </c:pt>
                <c:pt idx="63">
                  <c:v>81.223976794726525</c:v>
                </c:pt>
                <c:pt idx="64">
                  <c:v>78.218674374740317</c:v>
                </c:pt>
                <c:pt idx="65">
                  <c:v>75.322272564623859</c:v>
                </c:pt>
                <c:pt idx="66">
                  <c:v>72.52558271363074</c:v>
                </c:pt>
                <c:pt idx="67">
                  <c:v>69.820590516004643</c:v>
                </c:pt>
                <c:pt idx="68">
                  <c:v>67.20047233138402</c:v>
                </c:pt>
                <c:pt idx="69">
                  <c:v>64.658680720656093</c:v>
                </c:pt>
                <c:pt idx="70">
                  <c:v>62.189487646971884</c:v>
                </c:pt>
                <c:pt idx="71">
                  <c:v>59.787590006731904</c:v>
                </c:pt>
                <c:pt idx="72">
                  <c:v>57.448013882653186</c:v>
                </c:pt>
                <c:pt idx="73">
                  <c:v>55.166065803169289</c:v>
                </c:pt>
                <c:pt idx="74">
                  <c:v>52.937358691974168</c:v>
                </c:pt>
                <c:pt idx="75">
                  <c:v>50.758045583308842</c:v>
                </c:pt>
                <c:pt idx="76">
                  <c:v>48.624891396849165</c:v>
                </c:pt>
                <c:pt idx="77">
                  <c:v>46.535497573955524</c:v>
                </c:pt>
                <c:pt idx="78">
                  <c:v>44.488331818231188</c:v>
                </c:pt>
                <c:pt idx="79">
                  <c:v>42.482701403591989</c:v>
                </c:pt>
                <c:pt idx="80">
                  <c:v>40.518603727828946</c:v>
                </c:pt>
                <c:pt idx="81">
                  <c:v>38.596709130185673</c:v>
                </c:pt>
                <c:pt idx="82">
                  <c:v>36.718153507574755</c:v>
                </c:pt>
                <c:pt idx="83">
                  <c:v>34.884425950241109</c:v>
                </c:pt>
                <c:pt idx="84">
                  <c:v>33.097267089772458</c:v>
                </c:pt>
                <c:pt idx="85">
                  <c:v>31.358586179730764</c:v>
                </c:pt>
                <c:pt idx="86">
                  <c:v>29.670349257951841</c:v>
                </c:pt>
                <c:pt idx="87">
                  <c:v>28.034421239789253</c:v>
                </c:pt>
                <c:pt idx="88">
                  <c:v>26.452497128227435</c:v>
                </c:pt>
                <c:pt idx="89">
                  <c:v>24.926027150366252</c:v>
                </c:pt>
                <c:pt idx="90">
                  <c:v>23.456202171998143</c:v>
                </c:pt>
                <c:pt idx="91">
                  <c:v>22.043927958223151</c:v>
                </c:pt>
                <c:pt idx="92">
                  <c:v>20.689819323429475</c:v>
                </c:pt>
                <c:pt idx="93">
                  <c:v>19.394239206036929</c:v>
                </c:pt>
                <c:pt idx="94">
                  <c:v>18.157243270274336</c:v>
                </c:pt>
                <c:pt idx="95">
                  <c:v>16.978603792830114</c:v>
                </c:pt>
                <c:pt idx="96">
                  <c:v>15.85781589958674</c:v>
                </c:pt>
                <c:pt idx="97">
                  <c:v>14.794109928219655</c:v>
                </c:pt>
                <c:pt idx="98">
                  <c:v>13.786473054455428</c:v>
                </c:pt>
                <c:pt idx="99">
                  <c:v>12.833686431957005</c:v>
                </c:pt>
                <c:pt idx="100">
                  <c:v>11.93430627386843</c:v>
                </c:pt>
                <c:pt idx="101">
                  <c:v>11.086713367132234</c:v>
                </c:pt>
                <c:pt idx="102">
                  <c:v>10.289148688558157</c:v>
                </c:pt>
                <c:pt idx="103">
                  <c:v>9.539751529422972</c:v>
                </c:pt>
                <c:pt idx="104">
                  <c:v>8.8365900956598011</c:v>
                </c:pt>
                <c:pt idx="105">
                  <c:v>8.1776850058918171</c:v>
                </c:pt>
                <c:pt idx="106">
                  <c:v>8.4389662226081441</c:v>
                </c:pt>
                <c:pt idx="107">
                  <c:v>9.323797869198529</c:v>
                </c:pt>
                <c:pt idx="108">
                  <c:v>10.800520880777185</c:v>
                </c:pt>
                <c:pt idx="109">
                  <c:v>12.831284851936545</c:v>
                </c:pt>
                <c:pt idx="110">
                  <c:v>15.371138083933204</c:v>
                </c:pt>
                <c:pt idx="111">
                  <c:v>18.406715104860893</c:v>
                </c:pt>
                <c:pt idx="112">
                  <c:v>21.910586747236678</c:v>
                </c:pt>
                <c:pt idx="113">
                  <c:v>25.841639963546356</c:v>
                </c:pt>
                <c:pt idx="114">
                  <c:v>30.150689202945784</c:v>
                </c:pt>
                <c:pt idx="115">
                  <c:v>34.783773406749049</c:v>
                </c:pt>
                <c:pt idx="116">
                  <c:v>39.686091381052563</c:v>
                </c:pt>
                <c:pt idx="117">
                  <c:v>44.805248160143776</c:v>
                </c:pt>
                <c:pt idx="118">
                  <c:v>50.092373383745894</c:v>
                </c:pt>
                <c:pt idx="119">
                  <c:v>55.502295146455396</c:v>
                </c:pt>
                <c:pt idx="120">
                  <c:v>60.993338030701011</c:v>
                </c:pt>
                <c:pt idx="121">
                  <c:v>66.526427537833683</c:v>
                </c:pt>
                <c:pt idx="122">
                  <c:v>72.064916773575931</c:v>
                </c:pt>
                <c:pt idx="123">
                  <c:v>77.576922027580849</c:v>
                </c:pt>
                <c:pt idx="124">
                  <c:v>83.03613715521675</c:v>
                </c:pt>
                <c:pt idx="125">
                  <c:v>88.421298208440049</c:v>
                </c:pt>
                <c:pt idx="126">
                  <c:v>93.715121814828819</c:v>
                </c:pt>
                <c:pt idx="127">
                  <c:v>98.90435535237674</c:v>
                </c:pt>
                <c:pt idx="128">
                  <c:v>103.97926590472412</c:v>
                </c:pt>
                <c:pt idx="129">
                  <c:v>108.93304555596049</c:v>
                </c:pt>
                <c:pt idx="130">
                  <c:v>113.76146968685572</c:v>
                </c:pt>
                <c:pt idx="131">
                  <c:v>118.46206151212726</c:v>
                </c:pt>
                <c:pt idx="132">
                  <c:v>123.03397404258891</c:v>
                </c:pt>
                <c:pt idx="133">
                  <c:v>127.47772899803243</c:v>
                </c:pt>
                <c:pt idx="134">
                  <c:v>131.79518202606229</c:v>
                </c:pt>
                <c:pt idx="135">
                  <c:v>135.9895390165496</c:v>
                </c:pt>
                <c:pt idx="136">
                  <c:v>140.06491684252023</c:v>
                </c:pt>
                <c:pt idx="137">
                  <c:v>144.02605206110081</c:v>
                </c:pt>
                <c:pt idx="138">
                  <c:v>147.87816541032248</c:v>
                </c:pt>
                <c:pt idx="139">
                  <c:v>151.62677718820834</c:v>
                </c:pt>
                <c:pt idx="140">
                  <c:v>155.27749448480205</c:v>
                </c:pt>
                <c:pt idx="141">
                  <c:v>158.83596487417643</c:v>
                </c:pt>
                <c:pt idx="142">
                  <c:v>162.30737434348794</c:v>
                </c:pt>
                <c:pt idx="143">
                  <c:v>165.69654601021179</c:v>
                </c:pt>
                <c:pt idx="144">
                  <c:v>169.0079823793422</c:v>
                </c:pt>
                <c:pt idx="145">
                  <c:v>172.24591937236798</c:v>
                </c:pt>
                <c:pt idx="146">
                  <c:v>175.4142809704033</c:v>
                </c:pt>
                <c:pt idx="147">
                  <c:v>178.51661780692422</c:v>
                </c:pt>
                <c:pt idx="148">
                  <c:v>181.55604618816631</c:v>
                </c:pt>
                <c:pt idx="149">
                  <c:v>184.53524865764098</c:v>
                </c:pt>
                <c:pt idx="150">
                  <c:v>187.45645430954079</c:v>
                </c:pt>
                <c:pt idx="151">
                  <c:v>190.32143203494758</c:v>
                </c:pt>
                <c:pt idx="152">
                  <c:v>193.13157108042134</c:v>
                </c:pt>
                <c:pt idx="153">
                  <c:v>195.88795492189269</c:v>
                </c:pt>
                <c:pt idx="154">
                  <c:v>198.59139973227889</c:v>
                </c:pt>
                <c:pt idx="155">
                  <c:v>201.24245045595569</c:v>
                </c:pt>
                <c:pt idx="156">
                  <c:v>203.841353857564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D$2:$D$158</c:f>
              <c:numCache>
                <c:formatCode>General</c:formatCode>
                <c:ptCount val="157"/>
                <c:pt idx="0">
                  <c:v>2745.4409480921267</c:v>
                </c:pt>
                <c:pt idx="1">
                  <c:v>2599.4864312411491</c:v>
                </c:pt>
                <c:pt idx="2">
                  <c:v>2461.1120158242484</c:v>
                </c:pt>
                <c:pt idx="3">
                  <c:v>2328.5574060690005</c:v>
                </c:pt>
                <c:pt idx="4">
                  <c:v>2202.3465462161239</c:v>
                </c:pt>
                <c:pt idx="5">
                  <c:v>2080.9813165237711</c:v>
                </c:pt>
                <c:pt idx="6">
                  <c:v>1962.9858739693361</c:v>
                </c:pt>
                <c:pt idx="7">
                  <c:v>1849.2570707010016</c:v>
                </c:pt>
                <c:pt idx="8">
                  <c:v>1740.7225211859954</c:v>
                </c:pt>
                <c:pt idx="9">
                  <c:v>1636.2242146115354</c:v>
                </c:pt>
                <c:pt idx="10">
                  <c:v>1536.5058763651023</c:v>
                </c:pt>
                <c:pt idx="11">
                  <c:v>1442.6936224725391</c:v>
                </c:pt>
                <c:pt idx="12">
                  <c:v>1354.84540086331</c:v>
                </c:pt>
                <c:pt idx="13">
                  <c:v>1272.9398097046069</c:v>
                </c:pt>
                <c:pt idx="14">
                  <c:v>1196.803132099692</c:v>
                </c:pt>
                <c:pt idx="15">
                  <c:v>1125.6353428372063</c:v>
                </c:pt>
                <c:pt idx="16">
                  <c:v>1058.0912221249343</c:v>
                </c:pt>
                <c:pt idx="17">
                  <c:v>994.01618708564433</c:v>
                </c:pt>
                <c:pt idx="18">
                  <c:v>933.22094747312212</c:v>
                </c:pt>
                <c:pt idx="19">
                  <c:v>875.89969406294085</c:v>
                </c:pt>
                <c:pt idx="20">
                  <c:v>822.28247408174434</c:v>
                </c:pt>
                <c:pt idx="21">
                  <c:v>772.46942377116102</c:v>
                </c:pt>
                <c:pt idx="22">
                  <c:v>726.19393898047065</c:v>
                </c:pt>
                <c:pt idx="23">
                  <c:v>682.73022127481727</c:v>
                </c:pt>
                <c:pt idx="24">
                  <c:v>641.95803873380714</c:v>
                </c:pt>
                <c:pt idx="25">
                  <c:v>603.55282170833004</c:v>
                </c:pt>
                <c:pt idx="26">
                  <c:v>567.30337565589696</c:v>
                </c:pt>
                <c:pt idx="27">
                  <c:v>533.1446228526072</c:v>
                </c:pt>
                <c:pt idx="28">
                  <c:v>501.1508069200018</c:v>
                </c:pt>
                <c:pt idx="29">
                  <c:v>471.11614234999894</c:v>
                </c:pt>
                <c:pt idx="30">
                  <c:v>442.96367923113434</c:v>
                </c:pt>
                <c:pt idx="31">
                  <c:v>416.45814122699687</c:v>
                </c:pt>
                <c:pt idx="32">
                  <c:v>391.52477521568784</c:v>
                </c:pt>
                <c:pt idx="33">
                  <c:v>368.03407504654967</c:v>
                </c:pt>
                <c:pt idx="34">
                  <c:v>345.92487041167311</c:v>
                </c:pt>
                <c:pt idx="35">
                  <c:v>325.14107382375732</c:v>
                </c:pt>
                <c:pt idx="36">
                  <c:v>305.61642784463254</c:v>
                </c:pt>
                <c:pt idx="37">
                  <c:v>287.25842583963356</c:v>
                </c:pt>
                <c:pt idx="38">
                  <c:v>270.06099869236465</c:v>
                </c:pt>
                <c:pt idx="39">
                  <c:v>253.99333852935249</c:v>
                </c:pt>
                <c:pt idx="40">
                  <c:v>238.99545360576991</c:v>
                </c:pt>
                <c:pt idx="41">
                  <c:v>225.04759010540653</c:v>
                </c:pt>
                <c:pt idx="42">
                  <c:v>212.12796704763622</c:v>
                </c:pt>
                <c:pt idx="43">
                  <c:v>200.17880419731111</c:v>
                </c:pt>
                <c:pt idx="44">
                  <c:v>189.14469544361236</c:v>
                </c:pt>
                <c:pt idx="45">
                  <c:v>178.95058573500316</c:v>
                </c:pt>
                <c:pt idx="46">
                  <c:v>169.52760457893251</c:v>
                </c:pt>
                <c:pt idx="47">
                  <c:v>160.8055660931218</c:v>
                </c:pt>
                <c:pt idx="48">
                  <c:v>152.74505284033469</c:v>
                </c:pt>
                <c:pt idx="49">
                  <c:v>145.3148797439255</c:v>
                </c:pt>
                <c:pt idx="50">
                  <c:v>138.47202625579533</c:v>
                </c:pt>
                <c:pt idx="51">
                  <c:v>132.15062573348547</c:v>
                </c:pt>
                <c:pt idx="52">
                  <c:v>126.30370058744118</c:v>
                </c:pt>
                <c:pt idx="53">
                  <c:v>120.86183076193154</c:v>
                </c:pt>
                <c:pt idx="54">
                  <c:v>115.7668870074599</c:v>
                </c:pt>
                <c:pt idx="55">
                  <c:v>110.98526605855835</c:v>
                </c:pt>
                <c:pt idx="56">
                  <c:v>106.509540063831</c:v>
                </c:pt>
                <c:pt idx="57">
                  <c:v>102.30029673244914</c:v>
                </c:pt>
                <c:pt idx="58">
                  <c:v>98.328608793528574</c:v>
                </c:pt>
                <c:pt idx="59">
                  <c:v>94.574261878556456</c:v>
                </c:pt>
                <c:pt idx="60">
                  <c:v>91.008258445359161</c:v>
                </c:pt>
                <c:pt idx="61">
                  <c:v>87.605474914427873</c:v>
                </c:pt>
                <c:pt idx="62">
                  <c:v>84.348782033860431</c:v>
                </c:pt>
                <c:pt idx="63">
                  <c:v>81.223976794726525</c:v>
                </c:pt>
                <c:pt idx="64">
                  <c:v>78.218674374740317</c:v>
                </c:pt>
                <c:pt idx="65">
                  <c:v>75.322272564623859</c:v>
                </c:pt>
                <c:pt idx="66">
                  <c:v>72.52558271363074</c:v>
                </c:pt>
                <c:pt idx="67">
                  <c:v>69.820590516004643</c:v>
                </c:pt>
                <c:pt idx="68">
                  <c:v>67.20047233138402</c:v>
                </c:pt>
                <c:pt idx="69">
                  <c:v>64.658680720656093</c:v>
                </c:pt>
                <c:pt idx="70">
                  <c:v>62.189487646971884</c:v>
                </c:pt>
                <c:pt idx="71">
                  <c:v>59.787590006731904</c:v>
                </c:pt>
                <c:pt idx="72">
                  <c:v>57.448013882653186</c:v>
                </c:pt>
                <c:pt idx="73">
                  <c:v>55.166065803169289</c:v>
                </c:pt>
                <c:pt idx="74">
                  <c:v>52.937358691974168</c:v>
                </c:pt>
                <c:pt idx="75">
                  <c:v>50.758045583308842</c:v>
                </c:pt>
                <c:pt idx="76">
                  <c:v>48.624891396849165</c:v>
                </c:pt>
                <c:pt idx="77">
                  <c:v>46.535497573955524</c:v>
                </c:pt>
                <c:pt idx="78">
                  <c:v>44.488331818231188</c:v>
                </c:pt>
                <c:pt idx="79">
                  <c:v>42.482701403591989</c:v>
                </c:pt>
                <c:pt idx="80">
                  <c:v>40.518603727828946</c:v>
                </c:pt>
                <c:pt idx="81">
                  <c:v>38.596709130185673</c:v>
                </c:pt>
                <c:pt idx="82">
                  <c:v>36.718153507574755</c:v>
                </c:pt>
                <c:pt idx="83">
                  <c:v>34.884425950241109</c:v>
                </c:pt>
                <c:pt idx="84">
                  <c:v>33.097267089772458</c:v>
                </c:pt>
                <c:pt idx="85">
                  <c:v>31.358586179730764</c:v>
                </c:pt>
                <c:pt idx="86">
                  <c:v>29.670349257951841</c:v>
                </c:pt>
                <c:pt idx="87">
                  <c:v>28.034421239789253</c:v>
                </c:pt>
                <c:pt idx="88">
                  <c:v>26.452497128227435</c:v>
                </c:pt>
                <c:pt idx="89">
                  <c:v>24.926027150366252</c:v>
                </c:pt>
                <c:pt idx="90">
                  <c:v>23.456202171998143</c:v>
                </c:pt>
                <c:pt idx="91">
                  <c:v>22.043927958223151</c:v>
                </c:pt>
                <c:pt idx="92">
                  <c:v>20.689819323429475</c:v>
                </c:pt>
                <c:pt idx="93">
                  <c:v>19.394239206036929</c:v>
                </c:pt>
                <c:pt idx="94">
                  <c:v>18.157243270274336</c:v>
                </c:pt>
                <c:pt idx="95">
                  <c:v>16.978603792830114</c:v>
                </c:pt>
                <c:pt idx="96">
                  <c:v>15.85781589958674</c:v>
                </c:pt>
                <c:pt idx="97">
                  <c:v>14.794109928219655</c:v>
                </c:pt>
                <c:pt idx="98">
                  <c:v>13.786473054455428</c:v>
                </c:pt>
                <c:pt idx="99">
                  <c:v>12.833686431957005</c:v>
                </c:pt>
                <c:pt idx="100">
                  <c:v>11.93430627386843</c:v>
                </c:pt>
                <c:pt idx="101">
                  <c:v>11.086713367132234</c:v>
                </c:pt>
                <c:pt idx="102">
                  <c:v>10.289148688558157</c:v>
                </c:pt>
                <c:pt idx="103">
                  <c:v>9.539751529422972</c:v>
                </c:pt>
                <c:pt idx="104">
                  <c:v>8.8365900956598011</c:v>
                </c:pt>
                <c:pt idx="105">
                  <c:v>8.1776850058918171</c:v>
                </c:pt>
                <c:pt idx="106">
                  <c:v>9.4117449303192586</c:v>
                </c:pt>
                <c:pt idx="107">
                  <c:v>11.52327702941281</c:v>
                </c:pt>
                <c:pt idx="108">
                  <c:v>14.504190223999899</c:v>
                </c:pt>
                <c:pt idx="109">
                  <c:v>18.337990526459123</c:v>
                </c:pt>
                <c:pt idx="110">
                  <c:v>22.999036278901642</c:v>
                </c:pt>
                <c:pt idx="111">
                  <c:v>28.511779025868847</c:v>
                </c:pt>
                <c:pt idx="112">
                  <c:v>34.880214909789032</c:v>
                </c:pt>
                <c:pt idx="113">
                  <c:v>42.086070864295479</c:v>
                </c:pt>
                <c:pt idx="114">
                  <c:v>50.09736224686128</c:v>
                </c:pt>
                <c:pt idx="115">
                  <c:v>58.873583298221121</c:v>
                </c:pt>
                <c:pt idx="116">
                  <c:v>68.370997165773247</c:v>
                </c:pt>
                <c:pt idx="117">
                  <c:v>78.547228338427345</c:v>
                </c:pt>
                <c:pt idx="118">
                  <c:v>89.363068680070057</c:v>
                </c:pt>
                <c:pt idx="119">
                  <c:v>100.78321184543486</c:v>
                </c:pt>
                <c:pt idx="120">
                  <c:v>112.7764820281898</c:v>
                </c:pt>
                <c:pt idx="121">
                  <c:v>125.31475765155847</c:v>
                </c:pt>
                <c:pt idx="122">
                  <c:v>138.37240835082827</c:v>
                </c:pt>
                <c:pt idx="123">
                  <c:v>151.92900384927947</c:v>
                </c:pt>
                <c:pt idx="124">
                  <c:v>165.97108561469679</c:v>
                </c:pt>
                <c:pt idx="125">
                  <c:v>180.49205248650011</c:v>
                </c:pt>
                <c:pt idx="126">
                  <c:v>195.49081306174517</c:v>
                </c:pt>
                <c:pt idx="127">
                  <c:v>210.97177519307772</c:v>
                </c:pt>
                <c:pt idx="128">
                  <c:v>226.94463053595982</c:v>
                </c:pt>
                <c:pt idx="129">
                  <c:v>243.42363286655606</c:v>
                </c:pt>
                <c:pt idx="130">
                  <c:v>260.42719904942021</c:v>
                </c:pt>
                <c:pt idx="131">
                  <c:v>277.97692420461783</c:v>
                </c:pt>
                <c:pt idx="132">
                  <c:v>296.0973191285878</c:v>
                </c:pt>
                <c:pt idx="133">
                  <c:v>314.81560458183395</c:v>
                </c:pt>
                <c:pt idx="134">
                  <c:v>334.16184153842954</c:v>
                </c:pt>
                <c:pt idx="135">
                  <c:v>354.16889598459886</c:v>
                </c:pt>
                <c:pt idx="136">
                  <c:v>374.87196068499668</c:v>
                </c:pt>
                <c:pt idx="137">
                  <c:v>396.30826506905851</c:v>
                </c:pt>
                <c:pt idx="138">
                  <c:v>418.51696995641703</c:v>
                </c:pt>
                <c:pt idx="139">
                  <c:v>441.53896430291081</c:v>
                </c:pt>
                <c:pt idx="140">
                  <c:v>465.4166540192258</c:v>
                </c:pt>
                <c:pt idx="141">
                  <c:v>490.19392412837283</c:v>
                </c:pt>
                <c:pt idx="142">
                  <c:v>515.9160094902752</c:v>
                </c:pt>
                <c:pt idx="143">
                  <c:v>542.62957425309912</c:v>
                </c:pt>
                <c:pt idx="144">
                  <c:v>570.38272911887884</c:v>
                </c:pt>
                <c:pt idx="145">
                  <c:v>599.22503923095189</c:v>
                </c:pt>
                <c:pt idx="146">
                  <c:v>629.2075069877236</c:v>
                </c:pt>
                <c:pt idx="147">
                  <c:v>660.38262227365226</c:v>
                </c:pt>
                <c:pt idx="148">
                  <c:v>692.80437946748123</c:v>
                </c:pt>
                <c:pt idx="149">
                  <c:v>726.52835321675718</c:v>
                </c:pt>
                <c:pt idx="150">
                  <c:v>761.6117201594476</c:v>
                </c:pt>
                <c:pt idx="151">
                  <c:v>798.11327473143535</c:v>
                </c:pt>
                <c:pt idx="152">
                  <c:v>836.09355329179209</c:v>
                </c:pt>
                <c:pt idx="153">
                  <c:v>875.61495397487909</c:v>
                </c:pt>
                <c:pt idx="154">
                  <c:v>916.74183322497356</c:v>
                </c:pt>
                <c:pt idx="155">
                  <c:v>959.54056369822558</c:v>
                </c:pt>
                <c:pt idx="156">
                  <c:v>1004.07954628035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F$2:$F$158</c:f>
              <c:numCache>
                <c:formatCode>General</c:formatCode>
                <c:ptCount val="157"/>
                <c:pt idx="0">
                  <c:v>2745.4409480921267</c:v>
                </c:pt>
                <c:pt idx="1">
                  <c:v>2599.4864312411491</c:v>
                </c:pt>
                <c:pt idx="2">
                  <c:v>2461.1120158242484</c:v>
                </c:pt>
                <c:pt idx="3">
                  <c:v>2328.5574060690005</c:v>
                </c:pt>
                <c:pt idx="4">
                  <c:v>2202.3465462161239</c:v>
                </c:pt>
                <c:pt idx="5">
                  <c:v>2080.9813165237711</c:v>
                </c:pt>
                <c:pt idx="6">
                  <c:v>1962.9858739693361</c:v>
                </c:pt>
                <c:pt idx="7">
                  <c:v>1849.2570707010016</c:v>
                </c:pt>
                <c:pt idx="8">
                  <c:v>1740.7225211859954</c:v>
                </c:pt>
                <c:pt idx="9">
                  <c:v>1636.2242146115354</c:v>
                </c:pt>
                <c:pt idx="10">
                  <c:v>1536.5058763651023</c:v>
                </c:pt>
                <c:pt idx="11">
                  <c:v>1442.6936224725391</c:v>
                </c:pt>
                <c:pt idx="12">
                  <c:v>1354.84540086331</c:v>
                </c:pt>
                <c:pt idx="13">
                  <c:v>1272.9398097046069</c:v>
                </c:pt>
                <c:pt idx="14">
                  <c:v>1196.803132099692</c:v>
                </c:pt>
                <c:pt idx="15">
                  <c:v>1125.6353428372063</c:v>
                </c:pt>
                <c:pt idx="16">
                  <c:v>1058.0912221249343</c:v>
                </c:pt>
                <c:pt idx="17">
                  <c:v>994.01618708564433</c:v>
                </c:pt>
                <c:pt idx="18">
                  <c:v>933.22094747312212</c:v>
                </c:pt>
                <c:pt idx="19">
                  <c:v>875.89969406294085</c:v>
                </c:pt>
                <c:pt idx="20">
                  <c:v>822.28247408174434</c:v>
                </c:pt>
                <c:pt idx="21">
                  <c:v>772.46942377116102</c:v>
                </c:pt>
                <c:pt idx="22">
                  <c:v>726.19393898047065</c:v>
                </c:pt>
                <c:pt idx="23">
                  <c:v>682.73022127481727</c:v>
                </c:pt>
                <c:pt idx="24">
                  <c:v>641.95803873380714</c:v>
                </c:pt>
                <c:pt idx="25">
                  <c:v>603.55282170833004</c:v>
                </c:pt>
                <c:pt idx="26">
                  <c:v>567.30337565589696</c:v>
                </c:pt>
                <c:pt idx="27">
                  <c:v>533.1446228526072</c:v>
                </c:pt>
                <c:pt idx="28">
                  <c:v>501.1508069200018</c:v>
                </c:pt>
                <c:pt idx="29">
                  <c:v>471.11614234999894</c:v>
                </c:pt>
                <c:pt idx="30">
                  <c:v>442.96367923113434</c:v>
                </c:pt>
                <c:pt idx="31">
                  <c:v>416.45814122699687</c:v>
                </c:pt>
                <c:pt idx="32">
                  <c:v>391.52477521568784</c:v>
                </c:pt>
                <c:pt idx="33">
                  <c:v>368.03407504654967</c:v>
                </c:pt>
                <c:pt idx="34">
                  <c:v>345.92487041167311</c:v>
                </c:pt>
                <c:pt idx="35">
                  <c:v>325.14107382375732</c:v>
                </c:pt>
                <c:pt idx="36">
                  <c:v>305.61642784463254</c:v>
                </c:pt>
                <c:pt idx="37">
                  <c:v>287.25842583963356</c:v>
                </c:pt>
                <c:pt idx="38">
                  <c:v>270.06099869236465</c:v>
                </c:pt>
                <c:pt idx="39">
                  <c:v>253.99333852935249</c:v>
                </c:pt>
                <c:pt idx="40">
                  <c:v>238.99545360576991</c:v>
                </c:pt>
                <c:pt idx="41">
                  <c:v>225.04759010540653</c:v>
                </c:pt>
                <c:pt idx="42">
                  <c:v>212.12796704763622</c:v>
                </c:pt>
                <c:pt idx="43">
                  <c:v>200.17880419731111</c:v>
                </c:pt>
                <c:pt idx="44">
                  <c:v>189.14469544361236</c:v>
                </c:pt>
                <c:pt idx="45">
                  <c:v>178.95058573500316</c:v>
                </c:pt>
                <c:pt idx="46">
                  <c:v>169.52760457893251</c:v>
                </c:pt>
                <c:pt idx="47">
                  <c:v>160.8055660931218</c:v>
                </c:pt>
                <c:pt idx="48">
                  <c:v>152.74505284033469</c:v>
                </c:pt>
                <c:pt idx="49">
                  <c:v>145.3148797439255</c:v>
                </c:pt>
                <c:pt idx="50">
                  <c:v>138.47202625579533</c:v>
                </c:pt>
                <c:pt idx="51">
                  <c:v>132.15062573348547</c:v>
                </c:pt>
                <c:pt idx="52">
                  <c:v>126.30370058744118</c:v>
                </c:pt>
                <c:pt idx="53">
                  <c:v>120.86183076193154</c:v>
                </c:pt>
                <c:pt idx="54">
                  <c:v>115.7668870074599</c:v>
                </c:pt>
                <c:pt idx="55">
                  <c:v>110.98526605855835</c:v>
                </c:pt>
                <c:pt idx="56">
                  <c:v>106.509540063831</c:v>
                </c:pt>
                <c:pt idx="57">
                  <c:v>102.30029673244914</c:v>
                </c:pt>
                <c:pt idx="58">
                  <c:v>98.328608793528574</c:v>
                </c:pt>
                <c:pt idx="59">
                  <c:v>94.574261878556456</c:v>
                </c:pt>
                <c:pt idx="60">
                  <c:v>91.008258445359161</c:v>
                </c:pt>
                <c:pt idx="61">
                  <c:v>87.605474914427873</c:v>
                </c:pt>
                <c:pt idx="62">
                  <c:v>84.348782033860431</c:v>
                </c:pt>
                <c:pt idx="63">
                  <c:v>81.223976794726525</c:v>
                </c:pt>
                <c:pt idx="64">
                  <c:v>78.218674374740317</c:v>
                </c:pt>
                <c:pt idx="65">
                  <c:v>75.322272564623859</c:v>
                </c:pt>
                <c:pt idx="66">
                  <c:v>72.52558271363074</c:v>
                </c:pt>
                <c:pt idx="67">
                  <c:v>69.820590516004643</c:v>
                </c:pt>
                <c:pt idx="68">
                  <c:v>67.20047233138402</c:v>
                </c:pt>
                <c:pt idx="69">
                  <c:v>64.658680720656093</c:v>
                </c:pt>
                <c:pt idx="70">
                  <c:v>62.189487646971884</c:v>
                </c:pt>
                <c:pt idx="71">
                  <c:v>59.787590006731904</c:v>
                </c:pt>
                <c:pt idx="72">
                  <c:v>57.448013882653186</c:v>
                </c:pt>
                <c:pt idx="73">
                  <c:v>55.166065803169289</c:v>
                </c:pt>
                <c:pt idx="74">
                  <c:v>52.937358691974168</c:v>
                </c:pt>
                <c:pt idx="75">
                  <c:v>50.758045583308842</c:v>
                </c:pt>
                <c:pt idx="76">
                  <c:v>48.624891396849165</c:v>
                </c:pt>
                <c:pt idx="77">
                  <c:v>46.535497573955524</c:v>
                </c:pt>
                <c:pt idx="78">
                  <c:v>44.488331818231188</c:v>
                </c:pt>
                <c:pt idx="79">
                  <c:v>42.482701403591989</c:v>
                </c:pt>
                <c:pt idx="80">
                  <c:v>40.518603727828946</c:v>
                </c:pt>
                <c:pt idx="81">
                  <c:v>38.596709130185673</c:v>
                </c:pt>
                <c:pt idx="82">
                  <c:v>36.718153507574755</c:v>
                </c:pt>
                <c:pt idx="83">
                  <c:v>34.884425950241109</c:v>
                </c:pt>
                <c:pt idx="84">
                  <c:v>33.097267089772458</c:v>
                </c:pt>
                <c:pt idx="85">
                  <c:v>31.358586179730764</c:v>
                </c:pt>
                <c:pt idx="86">
                  <c:v>29.670349257951841</c:v>
                </c:pt>
                <c:pt idx="87">
                  <c:v>28.034421239789253</c:v>
                </c:pt>
                <c:pt idx="88">
                  <c:v>26.452497128227435</c:v>
                </c:pt>
                <c:pt idx="89">
                  <c:v>24.926027150366252</c:v>
                </c:pt>
                <c:pt idx="90">
                  <c:v>23.456202171998143</c:v>
                </c:pt>
                <c:pt idx="91">
                  <c:v>22.043927958223151</c:v>
                </c:pt>
                <c:pt idx="92">
                  <c:v>20.689819323429475</c:v>
                </c:pt>
                <c:pt idx="93">
                  <c:v>19.394239206036929</c:v>
                </c:pt>
                <c:pt idx="94">
                  <c:v>18.157243270274336</c:v>
                </c:pt>
                <c:pt idx="95">
                  <c:v>16.978603792830114</c:v>
                </c:pt>
                <c:pt idx="96">
                  <c:v>15.85781589958674</c:v>
                </c:pt>
                <c:pt idx="97">
                  <c:v>14.794109928219655</c:v>
                </c:pt>
                <c:pt idx="98">
                  <c:v>13.786473054455428</c:v>
                </c:pt>
                <c:pt idx="99">
                  <c:v>12.833686431957005</c:v>
                </c:pt>
                <c:pt idx="100">
                  <c:v>11.93430627386843</c:v>
                </c:pt>
                <c:pt idx="101">
                  <c:v>11.086713367132234</c:v>
                </c:pt>
                <c:pt idx="102">
                  <c:v>10.289148688558157</c:v>
                </c:pt>
                <c:pt idx="103">
                  <c:v>9.539751529422972</c:v>
                </c:pt>
                <c:pt idx="104">
                  <c:v>8.8365900956598011</c:v>
                </c:pt>
                <c:pt idx="105">
                  <c:v>8.1776850058918171</c:v>
                </c:pt>
                <c:pt idx="106">
                  <c:v>6.3391386145981841</c:v>
                </c:pt>
                <c:pt idx="107">
                  <c:v>5.0418125944357968</c:v>
                </c:pt>
                <c:pt idx="108">
                  <c:v>4.2628961254006157</c:v>
                </c:pt>
                <c:pt idx="109">
                  <c:v>3.968614959093884</c:v>
                </c:pt>
                <c:pt idx="110">
                  <c:v>4.1156388298909548</c:v>
                </c:pt>
                <c:pt idx="111">
                  <c:v>4.6562828719540903</c:v>
                </c:pt>
                <c:pt idx="112">
                  <c:v>5.5394831906599933</c:v>
                </c:pt>
                <c:pt idx="113">
                  <c:v>6.7122432902224887</c:v>
                </c:pt>
                <c:pt idx="114">
                  <c:v>8.1206978569479844</c:v>
                </c:pt>
                <c:pt idx="115">
                  <c:v>9.7116152713269344</c:v>
                </c:pt>
                <c:pt idx="116">
                  <c:v>11.434760473558441</c:v>
                </c:pt>
                <c:pt idx="117">
                  <c:v>13.246620486720971</c:v>
                </c:pt>
                <c:pt idx="118">
                  <c:v>15.109896940571431</c:v>
                </c:pt>
                <c:pt idx="119">
                  <c:v>16.988375653512421</c:v>
                </c:pt>
                <c:pt idx="120">
                  <c:v>18.847736635047127</c:v>
                </c:pt>
                <c:pt idx="121">
                  <c:v>20.656818720224706</c:v>
                </c:pt>
                <c:pt idx="122">
                  <c:v>22.388609702782958</c:v>
                </c:pt>
                <c:pt idx="123">
                  <c:v>24.020619001374698</c:v>
                </c:pt>
                <c:pt idx="124">
                  <c:v>25.536768776328174</c:v>
                </c:pt>
                <c:pt idx="125">
                  <c:v>26.926655375295979</c:v>
                </c:pt>
                <c:pt idx="126">
                  <c:v>28.181068190945652</c:v>
                </c:pt>
                <c:pt idx="127">
                  <c:v>29.291567169756483</c:v>
                </c:pt>
                <c:pt idx="128">
                  <c:v>30.251089828490805</c:v>
                </c:pt>
                <c:pt idx="129">
                  <c:v>31.05428392303066</c:v>
                </c:pt>
                <c:pt idx="130">
                  <c:v>31.697909379884472</c:v>
                </c:pt>
                <c:pt idx="131">
                  <c:v>32.181662818792205</c:v>
                </c:pt>
                <c:pt idx="132">
                  <c:v>32.507605773093651</c:v>
                </c:pt>
                <c:pt idx="133">
                  <c:v>32.678221824052585</c:v>
                </c:pt>
                <c:pt idx="134">
                  <c:v>32.696087395024378</c:v>
                </c:pt>
                <c:pt idx="135">
                  <c:v>32.56398773117634</c:v>
                </c:pt>
                <c:pt idx="136">
                  <c:v>32.285083088261786</c:v>
                </c:pt>
                <c:pt idx="137">
                  <c:v>31.863327948885214</c:v>
                </c:pt>
                <c:pt idx="138">
                  <c:v>31.30374573705906</c:v>
                </c:pt>
                <c:pt idx="139">
                  <c:v>30.611645177141163</c:v>
                </c:pt>
                <c:pt idx="140">
                  <c:v>29.791994433510133</c:v>
                </c:pt>
                <c:pt idx="141">
                  <c:v>28.849279393465743</c:v>
                </c:pt>
                <c:pt idx="142">
                  <c:v>27.787484585706068</c:v>
                </c:pt>
                <c:pt idx="143">
                  <c:v>26.610248227245648</c:v>
                </c:pt>
                <c:pt idx="144">
                  <c:v>25.321201057542083</c:v>
                </c:pt>
                <c:pt idx="145">
                  <c:v>23.924423766674948</c:v>
                </c:pt>
                <c:pt idx="146">
                  <c:v>22.424232830791595</c:v>
                </c:pt>
                <c:pt idx="147">
                  <c:v>20.824532807752107</c:v>
                </c:pt>
                <c:pt idx="148">
                  <c:v>19.128821504138344</c:v>
                </c:pt>
                <c:pt idx="149">
                  <c:v>17.340453917698085</c:v>
                </c:pt>
                <c:pt idx="150">
                  <c:v>15.462360239124209</c:v>
                </c:pt>
                <c:pt idx="151">
                  <c:v>13.497382585003606</c:v>
                </c:pt>
                <c:pt idx="152">
                  <c:v>11.448587644176669</c:v>
                </c:pt>
                <c:pt idx="153">
                  <c:v>9.3192124730443311</c:v>
                </c:pt>
                <c:pt idx="154">
                  <c:v>7.1124413988169977</c:v>
                </c:pt>
                <c:pt idx="155">
                  <c:v>4.8314767631024012</c:v>
                </c:pt>
                <c:pt idx="156">
                  <c:v>2.4795877158210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3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List1!$B$1:$DT$1</c:f>
              <c:numCache>
                <c:formatCode>d/m;@</c:formatCode>
                <c:ptCount val="123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</c:numCache>
            </c:numRef>
          </c:cat>
          <c:val>
            <c:numRef>
              <c:f>List1!$B$2:$DT$2</c:f>
              <c:numCache>
                <c:formatCode>General</c:formatCode>
                <c:ptCount val="123"/>
                <c:pt idx="0">
                  <c:v>73</c:v>
                </c:pt>
                <c:pt idx="1">
                  <c:v>75</c:v>
                </c:pt>
                <c:pt idx="2">
                  <c:v>65</c:v>
                </c:pt>
                <c:pt idx="3">
                  <c:v>60</c:v>
                </c:pt>
                <c:pt idx="4">
                  <c:v>60</c:v>
                </c:pt>
                <c:pt idx="5">
                  <c:v>59</c:v>
                </c:pt>
                <c:pt idx="6">
                  <c:v>61</c:v>
                </c:pt>
                <c:pt idx="7">
                  <c:v>60</c:v>
                </c:pt>
                <c:pt idx="8">
                  <c:v>63</c:v>
                </c:pt>
                <c:pt idx="9">
                  <c:v>66</c:v>
                </c:pt>
                <c:pt idx="10">
                  <c:v>65</c:v>
                </c:pt>
                <c:pt idx="11">
                  <c:v>69</c:v>
                </c:pt>
                <c:pt idx="12">
                  <c:v>67</c:v>
                </c:pt>
                <c:pt idx="13">
                  <c:v>68</c:v>
                </c:pt>
                <c:pt idx="14">
                  <c:v>77</c:v>
                </c:pt>
                <c:pt idx="15">
                  <c:v>78</c:v>
                </c:pt>
                <c:pt idx="16">
                  <c:v>84</c:v>
                </c:pt>
                <c:pt idx="17">
                  <c:v>83</c:v>
                </c:pt>
                <c:pt idx="18">
                  <c:v>82</c:v>
                </c:pt>
                <c:pt idx="19">
                  <c:v>80</c:v>
                </c:pt>
                <c:pt idx="20">
                  <c:v>74</c:v>
                </c:pt>
                <c:pt idx="21">
                  <c:v>75</c:v>
                </c:pt>
                <c:pt idx="22">
                  <c:v>77</c:v>
                </c:pt>
                <c:pt idx="23">
                  <c:v>78</c:v>
                </c:pt>
                <c:pt idx="24">
                  <c:v>67</c:v>
                </c:pt>
                <c:pt idx="25">
                  <c:v>64</c:v>
                </c:pt>
                <c:pt idx="26">
                  <c:v>61</c:v>
                </c:pt>
                <c:pt idx="27">
                  <c:v>66</c:v>
                </c:pt>
                <c:pt idx="28">
                  <c:v>69</c:v>
                </c:pt>
                <c:pt idx="29">
                  <c:v>71</c:v>
                </c:pt>
                <c:pt idx="30">
                  <c:v>75</c:v>
                </c:pt>
                <c:pt idx="31">
                  <c:v>72</c:v>
                </c:pt>
                <c:pt idx="32">
                  <c:v>71</c:v>
                </c:pt>
                <c:pt idx="33">
                  <c:v>70</c:v>
                </c:pt>
                <c:pt idx="34">
                  <c:v>73</c:v>
                </c:pt>
                <c:pt idx="35">
                  <c:v>69</c:v>
                </c:pt>
                <c:pt idx="36">
                  <c:v>77</c:v>
                </c:pt>
                <c:pt idx="37">
                  <c:v>85</c:v>
                </c:pt>
                <c:pt idx="38">
                  <c:v>73</c:v>
                </c:pt>
                <c:pt idx="39">
                  <c:v>69</c:v>
                </c:pt>
                <c:pt idx="40">
                  <c:v>64</c:v>
                </c:pt>
                <c:pt idx="41">
                  <c:v>65</c:v>
                </c:pt>
                <c:pt idx="42">
                  <c:v>71</c:v>
                </c:pt>
                <c:pt idx="43">
                  <c:v>71</c:v>
                </c:pt>
                <c:pt idx="44">
                  <c:v>80</c:v>
                </c:pt>
                <c:pt idx="45">
                  <c:v>76</c:v>
                </c:pt>
                <c:pt idx="46">
                  <c:v>74</c:v>
                </c:pt>
                <c:pt idx="47">
                  <c:v>74</c:v>
                </c:pt>
                <c:pt idx="48">
                  <c:v>74</c:v>
                </c:pt>
                <c:pt idx="49">
                  <c:v>71</c:v>
                </c:pt>
                <c:pt idx="50">
                  <c:v>78</c:v>
                </c:pt>
                <c:pt idx="51">
                  <c:v>92</c:v>
                </c:pt>
                <c:pt idx="52">
                  <c:v>91</c:v>
                </c:pt>
                <c:pt idx="53">
                  <c:v>94</c:v>
                </c:pt>
                <c:pt idx="54">
                  <c:v>92</c:v>
                </c:pt>
                <c:pt idx="55">
                  <c:v>91</c:v>
                </c:pt>
                <c:pt idx="56">
                  <c:v>109</c:v>
                </c:pt>
                <c:pt idx="57">
                  <c:v>114</c:v>
                </c:pt>
                <c:pt idx="58">
                  <c:v>116</c:v>
                </c:pt>
                <c:pt idx="59">
                  <c:v>117</c:v>
                </c:pt>
                <c:pt idx="60">
                  <c:v>114</c:v>
                </c:pt>
                <c:pt idx="61">
                  <c:v>116</c:v>
                </c:pt>
                <c:pt idx="62">
                  <c:v>109</c:v>
                </c:pt>
                <c:pt idx="63">
                  <c:v>113</c:v>
                </c:pt>
                <c:pt idx="64">
                  <c:v>115</c:v>
                </c:pt>
                <c:pt idx="65">
                  <c:v>110</c:v>
                </c:pt>
                <c:pt idx="66">
                  <c:v>105</c:v>
                </c:pt>
                <c:pt idx="67">
                  <c:v>106</c:v>
                </c:pt>
                <c:pt idx="68">
                  <c:v>104</c:v>
                </c:pt>
                <c:pt idx="69">
                  <c:v>107</c:v>
                </c:pt>
                <c:pt idx="70">
                  <c:v>113</c:v>
                </c:pt>
                <c:pt idx="71">
                  <c:v>110</c:v>
                </c:pt>
                <c:pt idx="72">
                  <c:v>101</c:v>
                </c:pt>
                <c:pt idx="73">
                  <c:v>106</c:v>
                </c:pt>
                <c:pt idx="74">
                  <c:v>113</c:v>
                </c:pt>
                <c:pt idx="75">
                  <c:v>103</c:v>
                </c:pt>
                <c:pt idx="76">
                  <c:v>101</c:v>
                </c:pt>
                <c:pt idx="77">
                  <c:v>113</c:v>
                </c:pt>
                <c:pt idx="78">
                  <c:v>103</c:v>
                </c:pt>
                <c:pt idx="79">
                  <c:v>108</c:v>
                </c:pt>
                <c:pt idx="80">
                  <c:v>116</c:v>
                </c:pt>
                <c:pt idx="81">
                  <c:v>119</c:v>
                </c:pt>
                <c:pt idx="82">
                  <c:v>124</c:v>
                </c:pt>
                <c:pt idx="83">
                  <c:v>128</c:v>
                </c:pt>
                <c:pt idx="84">
                  <c:v>129</c:v>
                </c:pt>
                <c:pt idx="85">
                  <c:v>131</c:v>
                </c:pt>
                <c:pt idx="86">
                  <c:v>136</c:v>
                </c:pt>
                <c:pt idx="87">
                  <c:v>147</c:v>
                </c:pt>
                <c:pt idx="88">
                  <c:v>156</c:v>
                </c:pt>
                <c:pt idx="89">
                  <c:v>155</c:v>
                </c:pt>
                <c:pt idx="90">
                  <c:v>154</c:v>
                </c:pt>
                <c:pt idx="91">
                  <c:v>171</c:v>
                </c:pt>
                <c:pt idx="92">
                  <c:v>178</c:v>
                </c:pt>
                <c:pt idx="93">
                  <c:v>180</c:v>
                </c:pt>
                <c:pt idx="94">
                  <c:v>195</c:v>
                </c:pt>
                <c:pt idx="95">
                  <c:v>207</c:v>
                </c:pt>
                <c:pt idx="96">
                  <c:v>209</c:v>
                </c:pt>
                <c:pt idx="97">
                  <c:v>220</c:v>
                </c:pt>
                <c:pt idx="98">
                  <c:v>256</c:v>
                </c:pt>
                <c:pt idx="99">
                  <c:v>253</c:v>
                </c:pt>
                <c:pt idx="100">
                  <c:v>266</c:v>
                </c:pt>
                <c:pt idx="101">
                  <c:v>272</c:v>
                </c:pt>
                <c:pt idx="102">
                  <c:v>310</c:v>
                </c:pt>
                <c:pt idx="103">
                  <c:v>283</c:v>
                </c:pt>
                <c:pt idx="104">
                  <c:v>305</c:v>
                </c:pt>
                <c:pt idx="105">
                  <c:v>339</c:v>
                </c:pt>
                <c:pt idx="106">
                  <c:v>369</c:v>
                </c:pt>
                <c:pt idx="107">
                  <c:v>399</c:v>
                </c:pt>
                <c:pt idx="108">
                  <c:v>495</c:v>
                </c:pt>
                <c:pt idx="109">
                  <c:v>525</c:v>
                </c:pt>
                <c:pt idx="110">
                  <c:v>508</c:v>
                </c:pt>
                <c:pt idx="111">
                  <c:v>532</c:v>
                </c:pt>
                <c:pt idx="112">
                  <c:v>612</c:v>
                </c:pt>
                <c:pt idx="113">
                  <c:v>637</c:v>
                </c:pt>
                <c:pt idx="114">
                  <c:v>710</c:v>
                </c:pt>
                <c:pt idx="115">
                  <c:v>768</c:v>
                </c:pt>
                <c:pt idx="116">
                  <c:v>825</c:v>
                </c:pt>
                <c:pt idx="117">
                  <c:v>797</c:v>
                </c:pt>
                <c:pt idx="118">
                  <c:v>823</c:v>
                </c:pt>
                <c:pt idx="119">
                  <c:v>845</c:v>
                </c:pt>
                <c:pt idx="120">
                  <c:v>998</c:v>
                </c:pt>
                <c:pt idx="121">
                  <c:v>1062</c:v>
                </c:pt>
                <c:pt idx="122">
                  <c:v>1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4A3-4CB3-9339-304CB1D10FBD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List1!$B$1:$DT$1</c:f>
              <c:numCache>
                <c:formatCode>d/m;@</c:formatCode>
                <c:ptCount val="123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</c:numCache>
            </c:numRef>
          </c:cat>
          <c:val>
            <c:numRef>
              <c:f>List1!$B$3:$DT$3</c:f>
              <c:numCache>
                <c:formatCode>General</c:formatCode>
                <c:ptCount val="123"/>
                <c:pt idx="0">
                  <c:v>474</c:v>
                </c:pt>
                <c:pt idx="1">
                  <c:v>438</c:v>
                </c:pt>
                <c:pt idx="2">
                  <c:v>389</c:v>
                </c:pt>
                <c:pt idx="3">
                  <c:v>362</c:v>
                </c:pt>
                <c:pt idx="4">
                  <c:v>298</c:v>
                </c:pt>
                <c:pt idx="5">
                  <c:v>298</c:v>
                </c:pt>
                <c:pt idx="6">
                  <c:v>298</c:v>
                </c:pt>
                <c:pt idx="7">
                  <c:v>282</c:v>
                </c:pt>
                <c:pt idx="8">
                  <c:v>254</c:v>
                </c:pt>
                <c:pt idx="9">
                  <c:v>232</c:v>
                </c:pt>
                <c:pt idx="10">
                  <c:v>183</c:v>
                </c:pt>
                <c:pt idx="11">
                  <c:v>158</c:v>
                </c:pt>
                <c:pt idx="12">
                  <c:v>152</c:v>
                </c:pt>
                <c:pt idx="13">
                  <c:v>168</c:v>
                </c:pt>
                <c:pt idx="14">
                  <c:v>140</c:v>
                </c:pt>
                <c:pt idx="15">
                  <c:v>120</c:v>
                </c:pt>
                <c:pt idx="16">
                  <c:v>119</c:v>
                </c:pt>
                <c:pt idx="17">
                  <c:v>110</c:v>
                </c:pt>
                <c:pt idx="18">
                  <c:v>86</c:v>
                </c:pt>
                <c:pt idx="19">
                  <c:v>83</c:v>
                </c:pt>
                <c:pt idx="20">
                  <c:v>88</c:v>
                </c:pt>
                <c:pt idx="21">
                  <c:v>85</c:v>
                </c:pt>
                <c:pt idx="22">
                  <c:v>81</c:v>
                </c:pt>
                <c:pt idx="23">
                  <c:v>79</c:v>
                </c:pt>
                <c:pt idx="24">
                  <c:v>66</c:v>
                </c:pt>
                <c:pt idx="25">
                  <c:v>55</c:v>
                </c:pt>
                <c:pt idx="26">
                  <c:v>56</c:v>
                </c:pt>
                <c:pt idx="27">
                  <c:v>62</c:v>
                </c:pt>
                <c:pt idx="28">
                  <c:v>57</c:v>
                </c:pt>
                <c:pt idx="29">
                  <c:v>58</c:v>
                </c:pt>
                <c:pt idx="30">
                  <c:v>49</c:v>
                </c:pt>
                <c:pt idx="31">
                  <c:v>39</c:v>
                </c:pt>
                <c:pt idx="32">
                  <c:v>28</c:v>
                </c:pt>
                <c:pt idx="33">
                  <c:v>31</c:v>
                </c:pt>
                <c:pt idx="34">
                  <c:v>33</c:v>
                </c:pt>
                <c:pt idx="35">
                  <c:v>32</c:v>
                </c:pt>
                <c:pt idx="36">
                  <c:v>42</c:v>
                </c:pt>
                <c:pt idx="37">
                  <c:v>39</c:v>
                </c:pt>
                <c:pt idx="38">
                  <c:v>35</c:v>
                </c:pt>
                <c:pt idx="39">
                  <c:v>25</c:v>
                </c:pt>
                <c:pt idx="40">
                  <c:v>25</c:v>
                </c:pt>
                <c:pt idx="41">
                  <c:v>34</c:v>
                </c:pt>
                <c:pt idx="42">
                  <c:v>32</c:v>
                </c:pt>
                <c:pt idx="43">
                  <c:v>29</c:v>
                </c:pt>
                <c:pt idx="44">
                  <c:v>30</c:v>
                </c:pt>
                <c:pt idx="45">
                  <c:v>32</c:v>
                </c:pt>
                <c:pt idx="46">
                  <c:v>30</c:v>
                </c:pt>
                <c:pt idx="47">
                  <c:v>32</c:v>
                </c:pt>
                <c:pt idx="48">
                  <c:v>44</c:v>
                </c:pt>
                <c:pt idx="49">
                  <c:v>41</c:v>
                </c:pt>
                <c:pt idx="50">
                  <c:v>41</c:v>
                </c:pt>
                <c:pt idx="51">
                  <c:v>41</c:v>
                </c:pt>
                <c:pt idx="52">
                  <c:v>40</c:v>
                </c:pt>
                <c:pt idx="53">
                  <c:v>38</c:v>
                </c:pt>
                <c:pt idx="54">
                  <c:v>45</c:v>
                </c:pt>
                <c:pt idx="55">
                  <c:v>57</c:v>
                </c:pt>
                <c:pt idx="56">
                  <c:v>52</c:v>
                </c:pt>
                <c:pt idx="57">
                  <c:v>52</c:v>
                </c:pt>
                <c:pt idx="58">
                  <c:v>58</c:v>
                </c:pt>
                <c:pt idx="59">
                  <c:v>58</c:v>
                </c:pt>
                <c:pt idx="60">
                  <c:v>54</c:v>
                </c:pt>
                <c:pt idx="61">
                  <c:v>48</c:v>
                </c:pt>
                <c:pt idx="62">
                  <c:v>57</c:v>
                </c:pt>
                <c:pt idx="63">
                  <c:v>51</c:v>
                </c:pt>
                <c:pt idx="64">
                  <c:v>55</c:v>
                </c:pt>
                <c:pt idx="65">
                  <c:v>55</c:v>
                </c:pt>
                <c:pt idx="66">
                  <c:v>56</c:v>
                </c:pt>
                <c:pt idx="67">
                  <c:v>56</c:v>
                </c:pt>
                <c:pt idx="68">
                  <c:v>55</c:v>
                </c:pt>
                <c:pt idx="69">
                  <c:v>64</c:v>
                </c:pt>
                <c:pt idx="70">
                  <c:v>58</c:v>
                </c:pt>
                <c:pt idx="71">
                  <c:v>61</c:v>
                </c:pt>
                <c:pt idx="72">
                  <c:v>61</c:v>
                </c:pt>
                <c:pt idx="73">
                  <c:v>54</c:v>
                </c:pt>
                <c:pt idx="74">
                  <c:v>57</c:v>
                </c:pt>
                <c:pt idx="75">
                  <c:v>58</c:v>
                </c:pt>
                <c:pt idx="76">
                  <c:v>69</c:v>
                </c:pt>
                <c:pt idx="77">
                  <c:v>69</c:v>
                </c:pt>
                <c:pt idx="78">
                  <c:v>72</c:v>
                </c:pt>
                <c:pt idx="79">
                  <c:v>69</c:v>
                </c:pt>
                <c:pt idx="80">
                  <c:v>71</c:v>
                </c:pt>
                <c:pt idx="81">
                  <c:v>60</c:v>
                </c:pt>
                <c:pt idx="82">
                  <c:v>65</c:v>
                </c:pt>
                <c:pt idx="83">
                  <c:v>69</c:v>
                </c:pt>
                <c:pt idx="84">
                  <c:v>68</c:v>
                </c:pt>
                <c:pt idx="85">
                  <c:v>71</c:v>
                </c:pt>
                <c:pt idx="86">
                  <c:v>69</c:v>
                </c:pt>
                <c:pt idx="87">
                  <c:v>62</c:v>
                </c:pt>
                <c:pt idx="88">
                  <c:v>56</c:v>
                </c:pt>
                <c:pt idx="89">
                  <c:v>54</c:v>
                </c:pt>
                <c:pt idx="90">
                  <c:v>60</c:v>
                </c:pt>
                <c:pt idx="91">
                  <c:v>55</c:v>
                </c:pt>
                <c:pt idx="92">
                  <c:v>62</c:v>
                </c:pt>
                <c:pt idx="93">
                  <c:v>64</c:v>
                </c:pt>
                <c:pt idx="94">
                  <c:v>63</c:v>
                </c:pt>
                <c:pt idx="95">
                  <c:v>60</c:v>
                </c:pt>
                <c:pt idx="96">
                  <c:v>67</c:v>
                </c:pt>
                <c:pt idx="97">
                  <c:v>91</c:v>
                </c:pt>
                <c:pt idx="98">
                  <c:v>96</c:v>
                </c:pt>
                <c:pt idx="99">
                  <c:v>101</c:v>
                </c:pt>
                <c:pt idx="100">
                  <c:v>112</c:v>
                </c:pt>
                <c:pt idx="101">
                  <c:v>116</c:v>
                </c:pt>
                <c:pt idx="102">
                  <c:v>115</c:v>
                </c:pt>
                <c:pt idx="103">
                  <c:v>128</c:v>
                </c:pt>
                <c:pt idx="104">
                  <c:v>157</c:v>
                </c:pt>
                <c:pt idx="105">
                  <c:v>162</c:v>
                </c:pt>
                <c:pt idx="106">
                  <c:v>167</c:v>
                </c:pt>
                <c:pt idx="107">
                  <c:v>164</c:v>
                </c:pt>
                <c:pt idx="108">
                  <c:v>179</c:v>
                </c:pt>
                <c:pt idx="109">
                  <c:v>157</c:v>
                </c:pt>
                <c:pt idx="110">
                  <c:v>160</c:v>
                </c:pt>
                <c:pt idx="111">
                  <c:v>178</c:v>
                </c:pt>
                <c:pt idx="112">
                  <c:v>173</c:v>
                </c:pt>
                <c:pt idx="113">
                  <c:v>172</c:v>
                </c:pt>
                <c:pt idx="114">
                  <c:v>174</c:v>
                </c:pt>
                <c:pt idx="115">
                  <c:v>172</c:v>
                </c:pt>
                <c:pt idx="116">
                  <c:v>1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A3-4CB3-9339-304CB1D10F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d/m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3"/>
        <c:majorTimeUnit val="days"/>
      </c:dateAx>
      <c:valAx>
        <c:axId val="494149648"/>
        <c:scaling>
          <c:orientation val="minMax"/>
          <c:max val="12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List1!$B$1:$DT$1</c:f>
              <c:numCache>
                <c:formatCode>d/m;@</c:formatCode>
                <c:ptCount val="123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</c:numCache>
            </c:numRef>
          </c:cat>
          <c:val>
            <c:numRef>
              <c:f>List1!$B$2:$DT$2</c:f>
              <c:numCache>
                <c:formatCode>General</c:formatCode>
                <c:ptCount val="123"/>
                <c:pt idx="0">
                  <c:v>11</c:v>
                </c:pt>
                <c:pt idx="1">
                  <c:v>9</c:v>
                </c:pt>
                <c:pt idx="2">
                  <c:v>8</c:v>
                </c:pt>
                <c:pt idx="3">
                  <c:v>8</c:v>
                </c:pt>
                <c:pt idx="4">
                  <c:v>6</c:v>
                </c:pt>
                <c:pt idx="5">
                  <c:v>8</c:v>
                </c:pt>
                <c:pt idx="6">
                  <c:v>9</c:v>
                </c:pt>
                <c:pt idx="7">
                  <c:v>9</c:v>
                </c:pt>
                <c:pt idx="8">
                  <c:v>11</c:v>
                </c:pt>
                <c:pt idx="9">
                  <c:v>12</c:v>
                </c:pt>
                <c:pt idx="10">
                  <c:v>10</c:v>
                </c:pt>
                <c:pt idx="11">
                  <c:v>11</c:v>
                </c:pt>
                <c:pt idx="12">
                  <c:v>10</c:v>
                </c:pt>
                <c:pt idx="13">
                  <c:v>11</c:v>
                </c:pt>
                <c:pt idx="14">
                  <c:v>8</c:v>
                </c:pt>
                <c:pt idx="15">
                  <c:v>4</c:v>
                </c:pt>
                <c:pt idx="16">
                  <c:v>6</c:v>
                </c:pt>
                <c:pt idx="17">
                  <c:v>8</c:v>
                </c:pt>
                <c:pt idx="18">
                  <c:v>7</c:v>
                </c:pt>
                <c:pt idx="19">
                  <c:v>7</c:v>
                </c:pt>
                <c:pt idx="20">
                  <c:v>9</c:v>
                </c:pt>
                <c:pt idx="21">
                  <c:v>9</c:v>
                </c:pt>
                <c:pt idx="22">
                  <c:v>6</c:v>
                </c:pt>
                <c:pt idx="23">
                  <c:v>7</c:v>
                </c:pt>
                <c:pt idx="24">
                  <c:v>9</c:v>
                </c:pt>
                <c:pt idx="25">
                  <c:v>8</c:v>
                </c:pt>
                <c:pt idx="26">
                  <c:v>9</c:v>
                </c:pt>
                <c:pt idx="27">
                  <c:v>10</c:v>
                </c:pt>
                <c:pt idx="28">
                  <c:v>10</c:v>
                </c:pt>
                <c:pt idx="29">
                  <c:v>8</c:v>
                </c:pt>
                <c:pt idx="30">
                  <c:v>10</c:v>
                </c:pt>
                <c:pt idx="31">
                  <c:v>10</c:v>
                </c:pt>
                <c:pt idx="32">
                  <c:v>11</c:v>
                </c:pt>
                <c:pt idx="33">
                  <c:v>11</c:v>
                </c:pt>
                <c:pt idx="34">
                  <c:v>13</c:v>
                </c:pt>
                <c:pt idx="35">
                  <c:v>11</c:v>
                </c:pt>
                <c:pt idx="36">
                  <c:v>13</c:v>
                </c:pt>
                <c:pt idx="37">
                  <c:v>14</c:v>
                </c:pt>
                <c:pt idx="38">
                  <c:v>15</c:v>
                </c:pt>
                <c:pt idx="39">
                  <c:v>15</c:v>
                </c:pt>
                <c:pt idx="40">
                  <c:v>13</c:v>
                </c:pt>
                <c:pt idx="41">
                  <c:v>14</c:v>
                </c:pt>
                <c:pt idx="42">
                  <c:v>14</c:v>
                </c:pt>
                <c:pt idx="43">
                  <c:v>13</c:v>
                </c:pt>
                <c:pt idx="44">
                  <c:v>12</c:v>
                </c:pt>
                <c:pt idx="45">
                  <c:v>14</c:v>
                </c:pt>
                <c:pt idx="46">
                  <c:v>13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3</c:v>
                </c:pt>
                <c:pt idx="51">
                  <c:v>12</c:v>
                </c:pt>
                <c:pt idx="52">
                  <c:v>14</c:v>
                </c:pt>
                <c:pt idx="53">
                  <c:v>15</c:v>
                </c:pt>
                <c:pt idx="54">
                  <c:v>14</c:v>
                </c:pt>
                <c:pt idx="55">
                  <c:v>14</c:v>
                </c:pt>
                <c:pt idx="56">
                  <c:v>16</c:v>
                </c:pt>
                <c:pt idx="57">
                  <c:v>16</c:v>
                </c:pt>
                <c:pt idx="58">
                  <c:v>18</c:v>
                </c:pt>
                <c:pt idx="59">
                  <c:v>18</c:v>
                </c:pt>
                <c:pt idx="60">
                  <c:v>17</c:v>
                </c:pt>
                <c:pt idx="61">
                  <c:v>15</c:v>
                </c:pt>
                <c:pt idx="62">
                  <c:v>15</c:v>
                </c:pt>
                <c:pt idx="63">
                  <c:v>14</c:v>
                </c:pt>
                <c:pt idx="64">
                  <c:v>14</c:v>
                </c:pt>
                <c:pt idx="65">
                  <c:v>15</c:v>
                </c:pt>
                <c:pt idx="66">
                  <c:v>15</c:v>
                </c:pt>
                <c:pt idx="67">
                  <c:v>17</c:v>
                </c:pt>
                <c:pt idx="68">
                  <c:v>12</c:v>
                </c:pt>
                <c:pt idx="69">
                  <c:v>20</c:v>
                </c:pt>
                <c:pt idx="70">
                  <c:v>22</c:v>
                </c:pt>
                <c:pt idx="71">
                  <c:v>21</c:v>
                </c:pt>
                <c:pt idx="72">
                  <c:v>22</c:v>
                </c:pt>
                <c:pt idx="73">
                  <c:v>23</c:v>
                </c:pt>
                <c:pt idx="74">
                  <c:v>22</c:v>
                </c:pt>
                <c:pt idx="75">
                  <c:v>21</c:v>
                </c:pt>
                <c:pt idx="76">
                  <c:v>21</c:v>
                </c:pt>
                <c:pt idx="77">
                  <c:v>22</c:v>
                </c:pt>
                <c:pt idx="78">
                  <c:v>25</c:v>
                </c:pt>
                <c:pt idx="79">
                  <c:v>27</c:v>
                </c:pt>
                <c:pt idx="80">
                  <c:v>27</c:v>
                </c:pt>
                <c:pt idx="81">
                  <c:v>24</c:v>
                </c:pt>
                <c:pt idx="82">
                  <c:v>26</c:v>
                </c:pt>
                <c:pt idx="83">
                  <c:v>29</c:v>
                </c:pt>
                <c:pt idx="84">
                  <c:v>33</c:v>
                </c:pt>
                <c:pt idx="85">
                  <c:v>29</c:v>
                </c:pt>
                <c:pt idx="86">
                  <c:v>31</c:v>
                </c:pt>
                <c:pt idx="87">
                  <c:v>34</c:v>
                </c:pt>
                <c:pt idx="88">
                  <c:v>37</c:v>
                </c:pt>
                <c:pt idx="89">
                  <c:v>37</c:v>
                </c:pt>
                <c:pt idx="90">
                  <c:v>39</c:v>
                </c:pt>
                <c:pt idx="91">
                  <c:v>40</c:v>
                </c:pt>
                <c:pt idx="92">
                  <c:v>45</c:v>
                </c:pt>
                <c:pt idx="93">
                  <c:v>49</c:v>
                </c:pt>
                <c:pt idx="94">
                  <c:v>46</c:v>
                </c:pt>
                <c:pt idx="95">
                  <c:v>51</c:v>
                </c:pt>
                <c:pt idx="96">
                  <c:v>49</c:v>
                </c:pt>
                <c:pt idx="97">
                  <c:v>52</c:v>
                </c:pt>
                <c:pt idx="98">
                  <c:v>53</c:v>
                </c:pt>
                <c:pt idx="99">
                  <c:v>50</c:v>
                </c:pt>
                <c:pt idx="100">
                  <c:v>55</c:v>
                </c:pt>
                <c:pt idx="101">
                  <c:v>58</c:v>
                </c:pt>
                <c:pt idx="102">
                  <c:v>62</c:v>
                </c:pt>
                <c:pt idx="103">
                  <c:v>57</c:v>
                </c:pt>
                <c:pt idx="104">
                  <c:v>63</c:v>
                </c:pt>
                <c:pt idx="105">
                  <c:v>70</c:v>
                </c:pt>
                <c:pt idx="106">
                  <c:v>70</c:v>
                </c:pt>
                <c:pt idx="107">
                  <c:v>74</c:v>
                </c:pt>
                <c:pt idx="108">
                  <c:v>81</c:v>
                </c:pt>
                <c:pt idx="109">
                  <c:v>98</c:v>
                </c:pt>
                <c:pt idx="110">
                  <c:v>112</c:v>
                </c:pt>
                <c:pt idx="111">
                  <c:v>122</c:v>
                </c:pt>
                <c:pt idx="112">
                  <c:v>144</c:v>
                </c:pt>
                <c:pt idx="113">
                  <c:v>137</c:v>
                </c:pt>
                <c:pt idx="114">
                  <c:v>147</c:v>
                </c:pt>
                <c:pt idx="115">
                  <c:v>157</c:v>
                </c:pt>
                <c:pt idx="116">
                  <c:v>158</c:v>
                </c:pt>
                <c:pt idx="117">
                  <c:v>163</c:v>
                </c:pt>
                <c:pt idx="118">
                  <c:v>178</c:v>
                </c:pt>
                <c:pt idx="119">
                  <c:v>191</c:v>
                </c:pt>
                <c:pt idx="120">
                  <c:v>197</c:v>
                </c:pt>
                <c:pt idx="121">
                  <c:v>196</c:v>
                </c:pt>
                <c:pt idx="122">
                  <c:v>2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4A3-4CB3-9339-304CB1D10FBD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List1!$B$1:$DT$1</c:f>
              <c:numCache>
                <c:formatCode>d/m;@</c:formatCode>
                <c:ptCount val="123"/>
                <c:pt idx="0">
                  <c:v>43983</c:v>
                </c:pt>
                <c:pt idx="1">
                  <c:v>43984</c:v>
                </c:pt>
                <c:pt idx="2">
                  <c:v>43985</c:v>
                </c:pt>
                <c:pt idx="3">
                  <c:v>43986</c:v>
                </c:pt>
                <c:pt idx="4">
                  <c:v>43987</c:v>
                </c:pt>
                <c:pt idx="5">
                  <c:v>43988</c:v>
                </c:pt>
                <c:pt idx="6">
                  <c:v>43989</c:v>
                </c:pt>
                <c:pt idx="7">
                  <c:v>43990</c:v>
                </c:pt>
                <c:pt idx="8">
                  <c:v>43991</c:v>
                </c:pt>
                <c:pt idx="9">
                  <c:v>43992</c:v>
                </c:pt>
                <c:pt idx="10">
                  <c:v>43993</c:v>
                </c:pt>
                <c:pt idx="11">
                  <c:v>43994</c:v>
                </c:pt>
                <c:pt idx="12">
                  <c:v>43995</c:v>
                </c:pt>
                <c:pt idx="13">
                  <c:v>43996</c:v>
                </c:pt>
                <c:pt idx="14">
                  <c:v>43997</c:v>
                </c:pt>
                <c:pt idx="15">
                  <c:v>43998</c:v>
                </c:pt>
                <c:pt idx="16">
                  <c:v>43999</c:v>
                </c:pt>
                <c:pt idx="17">
                  <c:v>44000</c:v>
                </c:pt>
                <c:pt idx="18">
                  <c:v>44001</c:v>
                </c:pt>
                <c:pt idx="19">
                  <c:v>44002</c:v>
                </c:pt>
                <c:pt idx="20">
                  <c:v>44003</c:v>
                </c:pt>
                <c:pt idx="21">
                  <c:v>44004</c:v>
                </c:pt>
                <c:pt idx="22">
                  <c:v>44005</c:v>
                </c:pt>
                <c:pt idx="23">
                  <c:v>44006</c:v>
                </c:pt>
                <c:pt idx="24">
                  <c:v>44007</c:v>
                </c:pt>
                <c:pt idx="25">
                  <c:v>44008</c:v>
                </c:pt>
                <c:pt idx="26">
                  <c:v>44009</c:v>
                </c:pt>
                <c:pt idx="27">
                  <c:v>44010</c:v>
                </c:pt>
                <c:pt idx="28">
                  <c:v>44011</c:v>
                </c:pt>
                <c:pt idx="29">
                  <c:v>44012</c:v>
                </c:pt>
                <c:pt idx="30">
                  <c:v>44013</c:v>
                </c:pt>
                <c:pt idx="31">
                  <c:v>44014</c:v>
                </c:pt>
                <c:pt idx="32">
                  <c:v>44015</c:v>
                </c:pt>
                <c:pt idx="33">
                  <c:v>44016</c:v>
                </c:pt>
                <c:pt idx="34">
                  <c:v>44017</c:v>
                </c:pt>
                <c:pt idx="35">
                  <c:v>44018</c:v>
                </c:pt>
                <c:pt idx="36">
                  <c:v>44019</c:v>
                </c:pt>
                <c:pt idx="37">
                  <c:v>44020</c:v>
                </c:pt>
                <c:pt idx="38">
                  <c:v>44021</c:v>
                </c:pt>
                <c:pt idx="39">
                  <c:v>44022</c:v>
                </c:pt>
                <c:pt idx="40">
                  <c:v>44023</c:v>
                </c:pt>
                <c:pt idx="41">
                  <c:v>44024</c:v>
                </c:pt>
                <c:pt idx="42">
                  <c:v>44025</c:v>
                </c:pt>
                <c:pt idx="43">
                  <c:v>44026</c:v>
                </c:pt>
                <c:pt idx="44">
                  <c:v>44027</c:v>
                </c:pt>
                <c:pt idx="45">
                  <c:v>44028</c:v>
                </c:pt>
                <c:pt idx="46">
                  <c:v>44029</c:v>
                </c:pt>
                <c:pt idx="47">
                  <c:v>44030</c:v>
                </c:pt>
                <c:pt idx="48">
                  <c:v>44031</c:v>
                </c:pt>
                <c:pt idx="49">
                  <c:v>44032</c:v>
                </c:pt>
                <c:pt idx="50">
                  <c:v>44033</c:v>
                </c:pt>
                <c:pt idx="51">
                  <c:v>44034</c:v>
                </c:pt>
                <c:pt idx="52">
                  <c:v>44035</c:v>
                </c:pt>
                <c:pt idx="53">
                  <c:v>44036</c:v>
                </c:pt>
                <c:pt idx="54">
                  <c:v>44037</c:v>
                </c:pt>
                <c:pt idx="55">
                  <c:v>44038</c:v>
                </c:pt>
                <c:pt idx="56">
                  <c:v>44039</c:v>
                </c:pt>
                <c:pt idx="57">
                  <c:v>44040</c:v>
                </c:pt>
                <c:pt idx="58">
                  <c:v>44041</c:v>
                </c:pt>
                <c:pt idx="59">
                  <c:v>44042</c:v>
                </c:pt>
                <c:pt idx="60">
                  <c:v>44043</c:v>
                </c:pt>
                <c:pt idx="61">
                  <c:v>44044</c:v>
                </c:pt>
                <c:pt idx="62">
                  <c:v>44045</c:v>
                </c:pt>
                <c:pt idx="63">
                  <c:v>44046</c:v>
                </c:pt>
                <c:pt idx="64">
                  <c:v>44047</c:v>
                </c:pt>
                <c:pt idx="65">
                  <c:v>44048</c:v>
                </c:pt>
                <c:pt idx="66">
                  <c:v>44049</c:v>
                </c:pt>
                <c:pt idx="67">
                  <c:v>44050</c:v>
                </c:pt>
                <c:pt idx="68">
                  <c:v>44051</c:v>
                </c:pt>
                <c:pt idx="69">
                  <c:v>44052</c:v>
                </c:pt>
                <c:pt idx="70">
                  <c:v>44053</c:v>
                </c:pt>
                <c:pt idx="71">
                  <c:v>44054</c:v>
                </c:pt>
                <c:pt idx="72">
                  <c:v>44055</c:v>
                </c:pt>
                <c:pt idx="73">
                  <c:v>44056</c:v>
                </c:pt>
                <c:pt idx="74">
                  <c:v>44057</c:v>
                </c:pt>
                <c:pt idx="75">
                  <c:v>44058</c:v>
                </c:pt>
                <c:pt idx="76">
                  <c:v>44059</c:v>
                </c:pt>
                <c:pt idx="77">
                  <c:v>44060</c:v>
                </c:pt>
                <c:pt idx="78">
                  <c:v>44061</c:v>
                </c:pt>
                <c:pt idx="79">
                  <c:v>44062</c:v>
                </c:pt>
                <c:pt idx="80">
                  <c:v>44063</c:v>
                </c:pt>
                <c:pt idx="81">
                  <c:v>44064</c:v>
                </c:pt>
                <c:pt idx="82">
                  <c:v>44065</c:v>
                </c:pt>
                <c:pt idx="83">
                  <c:v>44066</c:v>
                </c:pt>
                <c:pt idx="84">
                  <c:v>44067</c:v>
                </c:pt>
                <c:pt idx="85">
                  <c:v>44068</c:v>
                </c:pt>
                <c:pt idx="86">
                  <c:v>44069</c:v>
                </c:pt>
                <c:pt idx="87">
                  <c:v>44070</c:v>
                </c:pt>
                <c:pt idx="88">
                  <c:v>44071</c:v>
                </c:pt>
                <c:pt idx="89">
                  <c:v>44072</c:v>
                </c:pt>
                <c:pt idx="90">
                  <c:v>44073</c:v>
                </c:pt>
                <c:pt idx="91">
                  <c:v>44074</c:v>
                </c:pt>
                <c:pt idx="92">
                  <c:v>44075</c:v>
                </c:pt>
                <c:pt idx="93">
                  <c:v>44076</c:v>
                </c:pt>
                <c:pt idx="94">
                  <c:v>44077</c:v>
                </c:pt>
                <c:pt idx="95">
                  <c:v>44078</c:v>
                </c:pt>
                <c:pt idx="96">
                  <c:v>44079</c:v>
                </c:pt>
                <c:pt idx="97">
                  <c:v>44080</c:v>
                </c:pt>
                <c:pt idx="98">
                  <c:v>44081</c:v>
                </c:pt>
                <c:pt idx="99">
                  <c:v>44082</c:v>
                </c:pt>
                <c:pt idx="100">
                  <c:v>44083</c:v>
                </c:pt>
                <c:pt idx="101">
                  <c:v>44084</c:v>
                </c:pt>
                <c:pt idx="102">
                  <c:v>44085</c:v>
                </c:pt>
                <c:pt idx="103">
                  <c:v>44086</c:v>
                </c:pt>
                <c:pt idx="104">
                  <c:v>44087</c:v>
                </c:pt>
                <c:pt idx="105">
                  <c:v>44088</c:v>
                </c:pt>
                <c:pt idx="106">
                  <c:v>44089</c:v>
                </c:pt>
                <c:pt idx="107">
                  <c:v>44090</c:v>
                </c:pt>
                <c:pt idx="108">
                  <c:v>44091</c:v>
                </c:pt>
                <c:pt idx="109">
                  <c:v>44092</c:v>
                </c:pt>
                <c:pt idx="110">
                  <c:v>44093</c:v>
                </c:pt>
                <c:pt idx="111">
                  <c:v>44094</c:v>
                </c:pt>
                <c:pt idx="112">
                  <c:v>44095</c:v>
                </c:pt>
                <c:pt idx="113">
                  <c:v>44096</c:v>
                </c:pt>
                <c:pt idx="114">
                  <c:v>44097</c:v>
                </c:pt>
                <c:pt idx="115">
                  <c:v>44098</c:v>
                </c:pt>
                <c:pt idx="116">
                  <c:v>44099</c:v>
                </c:pt>
                <c:pt idx="117">
                  <c:v>44100</c:v>
                </c:pt>
                <c:pt idx="118">
                  <c:v>44101</c:v>
                </c:pt>
                <c:pt idx="119">
                  <c:v>44102</c:v>
                </c:pt>
                <c:pt idx="120">
                  <c:v>44103</c:v>
                </c:pt>
                <c:pt idx="121">
                  <c:v>44104</c:v>
                </c:pt>
                <c:pt idx="122">
                  <c:v>44105</c:v>
                </c:pt>
              </c:numCache>
            </c:numRef>
          </c:cat>
          <c:val>
            <c:numRef>
              <c:f>List1!$B$3:$DT$3</c:f>
              <c:numCache>
                <c:formatCode>General</c:formatCode>
                <c:ptCount val="123"/>
                <c:pt idx="0">
                  <c:v>97</c:v>
                </c:pt>
                <c:pt idx="1">
                  <c:v>89</c:v>
                </c:pt>
                <c:pt idx="2">
                  <c:v>83</c:v>
                </c:pt>
                <c:pt idx="3">
                  <c:v>70</c:v>
                </c:pt>
                <c:pt idx="4">
                  <c:v>58</c:v>
                </c:pt>
                <c:pt idx="5">
                  <c:v>59</c:v>
                </c:pt>
                <c:pt idx="6">
                  <c:v>57</c:v>
                </c:pt>
                <c:pt idx="7">
                  <c:v>58</c:v>
                </c:pt>
                <c:pt idx="8">
                  <c:v>55</c:v>
                </c:pt>
                <c:pt idx="9">
                  <c:v>52</c:v>
                </c:pt>
                <c:pt idx="10">
                  <c:v>37</c:v>
                </c:pt>
                <c:pt idx="11">
                  <c:v>36</c:v>
                </c:pt>
                <c:pt idx="12">
                  <c:v>34</c:v>
                </c:pt>
                <c:pt idx="13">
                  <c:v>36</c:v>
                </c:pt>
                <c:pt idx="14">
                  <c:v>26</c:v>
                </c:pt>
                <c:pt idx="15">
                  <c:v>24</c:v>
                </c:pt>
                <c:pt idx="16">
                  <c:v>23</c:v>
                </c:pt>
                <c:pt idx="17">
                  <c:v>21</c:v>
                </c:pt>
                <c:pt idx="18">
                  <c:v>18</c:v>
                </c:pt>
                <c:pt idx="19">
                  <c:v>20</c:v>
                </c:pt>
                <c:pt idx="20">
                  <c:v>18</c:v>
                </c:pt>
                <c:pt idx="21">
                  <c:v>17</c:v>
                </c:pt>
                <c:pt idx="22">
                  <c:v>14</c:v>
                </c:pt>
                <c:pt idx="23">
                  <c:v>16</c:v>
                </c:pt>
                <c:pt idx="24">
                  <c:v>16</c:v>
                </c:pt>
                <c:pt idx="25">
                  <c:v>13</c:v>
                </c:pt>
                <c:pt idx="26">
                  <c:v>12</c:v>
                </c:pt>
                <c:pt idx="27">
                  <c:v>14</c:v>
                </c:pt>
                <c:pt idx="28">
                  <c:v>15</c:v>
                </c:pt>
                <c:pt idx="29">
                  <c:v>13</c:v>
                </c:pt>
                <c:pt idx="30">
                  <c:v>14</c:v>
                </c:pt>
                <c:pt idx="31">
                  <c:v>7</c:v>
                </c:pt>
                <c:pt idx="32">
                  <c:v>6</c:v>
                </c:pt>
                <c:pt idx="33">
                  <c:v>7</c:v>
                </c:pt>
                <c:pt idx="34">
                  <c:v>11</c:v>
                </c:pt>
                <c:pt idx="35">
                  <c:v>11</c:v>
                </c:pt>
                <c:pt idx="36">
                  <c:v>12</c:v>
                </c:pt>
                <c:pt idx="37">
                  <c:v>11</c:v>
                </c:pt>
                <c:pt idx="38">
                  <c:v>8</c:v>
                </c:pt>
                <c:pt idx="39">
                  <c:v>7</c:v>
                </c:pt>
                <c:pt idx="40">
                  <c:v>8</c:v>
                </c:pt>
                <c:pt idx="41">
                  <c:v>9</c:v>
                </c:pt>
                <c:pt idx="42">
                  <c:v>8</c:v>
                </c:pt>
                <c:pt idx="43">
                  <c:v>9</c:v>
                </c:pt>
                <c:pt idx="44">
                  <c:v>9</c:v>
                </c:pt>
                <c:pt idx="45">
                  <c:v>10</c:v>
                </c:pt>
                <c:pt idx="46">
                  <c:v>9</c:v>
                </c:pt>
                <c:pt idx="47">
                  <c:v>10</c:v>
                </c:pt>
                <c:pt idx="48">
                  <c:v>10</c:v>
                </c:pt>
                <c:pt idx="49">
                  <c:v>5</c:v>
                </c:pt>
                <c:pt idx="50">
                  <c:v>8</c:v>
                </c:pt>
                <c:pt idx="51">
                  <c:v>12</c:v>
                </c:pt>
                <c:pt idx="52">
                  <c:v>11</c:v>
                </c:pt>
                <c:pt idx="53">
                  <c:v>8</c:v>
                </c:pt>
                <c:pt idx="54">
                  <c:v>9</c:v>
                </c:pt>
                <c:pt idx="55">
                  <c:v>9</c:v>
                </c:pt>
                <c:pt idx="56">
                  <c:v>10</c:v>
                </c:pt>
                <c:pt idx="57">
                  <c:v>11</c:v>
                </c:pt>
                <c:pt idx="58">
                  <c:v>14</c:v>
                </c:pt>
                <c:pt idx="59">
                  <c:v>16</c:v>
                </c:pt>
                <c:pt idx="60">
                  <c:v>17</c:v>
                </c:pt>
                <c:pt idx="61">
                  <c:v>16</c:v>
                </c:pt>
                <c:pt idx="62">
                  <c:v>14</c:v>
                </c:pt>
                <c:pt idx="63">
                  <c:v>16</c:v>
                </c:pt>
                <c:pt idx="64">
                  <c:v>17</c:v>
                </c:pt>
                <c:pt idx="65">
                  <c:v>16</c:v>
                </c:pt>
                <c:pt idx="66">
                  <c:v>14</c:v>
                </c:pt>
                <c:pt idx="67">
                  <c:v>12</c:v>
                </c:pt>
                <c:pt idx="68">
                  <c:v>15</c:v>
                </c:pt>
                <c:pt idx="69">
                  <c:v>17</c:v>
                </c:pt>
                <c:pt idx="70">
                  <c:v>16</c:v>
                </c:pt>
                <c:pt idx="71">
                  <c:v>18</c:v>
                </c:pt>
                <c:pt idx="72">
                  <c:v>18</c:v>
                </c:pt>
                <c:pt idx="73">
                  <c:v>17</c:v>
                </c:pt>
                <c:pt idx="74">
                  <c:v>18</c:v>
                </c:pt>
                <c:pt idx="75">
                  <c:v>15</c:v>
                </c:pt>
                <c:pt idx="76">
                  <c:v>17</c:v>
                </c:pt>
                <c:pt idx="77">
                  <c:v>17</c:v>
                </c:pt>
                <c:pt idx="78">
                  <c:v>16</c:v>
                </c:pt>
                <c:pt idx="79">
                  <c:v>17</c:v>
                </c:pt>
                <c:pt idx="80">
                  <c:v>17</c:v>
                </c:pt>
                <c:pt idx="81">
                  <c:v>15</c:v>
                </c:pt>
                <c:pt idx="82">
                  <c:v>16</c:v>
                </c:pt>
                <c:pt idx="83">
                  <c:v>17</c:v>
                </c:pt>
                <c:pt idx="84">
                  <c:v>15</c:v>
                </c:pt>
                <c:pt idx="85">
                  <c:v>18</c:v>
                </c:pt>
                <c:pt idx="86">
                  <c:v>16</c:v>
                </c:pt>
                <c:pt idx="87">
                  <c:v>14</c:v>
                </c:pt>
                <c:pt idx="88">
                  <c:v>13</c:v>
                </c:pt>
                <c:pt idx="89">
                  <c:v>9</c:v>
                </c:pt>
                <c:pt idx="90">
                  <c:v>10</c:v>
                </c:pt>
                <c:pt idx="91">
                  <c:v>10</c:v>
                </c:pt>
                <c:pt idx="92">
                  <c:v>12</c:v>
                </c:pt>
                <c:pt idx="93">
                  <c:v>13</c:v>
                </c:pt>
                <c:pt idx="94">
                  <c:v>14</c:v>
                </c:pt>
                <c:pt idx="95">
                  <c:v>16</c:v>
                </c:pt>
                <c:pt idx="96">
                  <c:v>16</c:v>
                </c:pt>
                <c:pt idx="97">
                  <c:v>23</c:v>
                </c:pt>
                <c:pt idx="98">
                  <c:v>26</c:v>
                </c:pt>
                <c:pt idx="99">
                  <c:v>24</c:v>
                </c:pt>
                <c:pt idx="100">
                  <c:v>22</c:v>
                </c:pt>
                <c:pt idx="101">
                  <c:v>24</c:v>
                </c:pt>
                <c:pt idx="102">
                  <c:v>27</c:v>
                </c:pt>
                <c:pt idx="103">
                  <c:v>31</c:v>
                </c:pt>
                <c:pt idx="104">
                  <c:v>35</c:v>
                </c:pt>
                <c:pt idx="105">
                  <c:v>41</c:v>
                </c:pt>
                <c:pt idx="106">
                  <c:v>38</c:v>
                </c:pt>
                <c:pt idx="107">
                  <c:v>43</c:v>
                </c:pt>
                <c:pt idx="108">
                  <c:v>45</c:v>
                </c:pt>
                <c:pt idx="109">
                  <c:v>42</c:v>
                </c:pt>
                <c:pt idx="110">
                  <c:v>39</c:v>
                </c:pt>
                <c:pt idx="111">
                  <c:v>41</c:v>
                </c:pt>
                <c:pt idx="112">
                  <c:v>38</c:v>
                </c:pt>
                <c:pt idx="113">
                  <c:v>36</c:v>
                </c:pt>
                <c:pt idx="114">
                  <c:v>37</c:v>
                </c:pt>
                <c:pt idx="115">
                  <c:v>37</c:v>
                </c:pt>
                <c:pt idx="116">
                  <c:v>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A3-4CB3-9339-304CB1D10F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d/m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3"/>
        <c:majorTimeUnit val="days"/>
      </c:dateAx>
      <c:valAx>
        <c:axId val="494149648"/>
        <c:scaling>
          <c:orientation val="minMax"/>
          <c:max val="25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G$2:$G$158</c:f>
              <c:numCache>
                <c:formatCode>General</c:formatCode>
                <c:ptCount val="157"/>
                <c:pt idx="0">
                  <c:v>550</c:v>
                </c:pt>
                <c:pt idx="1">
                  <c:v>555</c:v>
                </c:pt>
                <c:pt idx="2">
                  <c:v>560</c:v>
                </c:pt>
                <c:pt idx="3">
                  <c:v>540</c:v>
                </c:pt>
                <c:pt idx="4">
                  <c:v>498</c:v>
                </c:pt>
                <c:pt idx="5">
                  <c:v>462</c:v>
                </c:pt>
                <c:pt idx="6">
                  <c:v>437</c:v>
                </c:pt>
                <c:pt idx="7">
                  <c:v>410</c:v>
                </c:pt>
                <c:pt idx="8">
                  <c:v>414</c:v>
                </c:pt>
                <c:pt idx="9">
                  <c:v>421</c:v>
                </c:pt>
                <c:pt idx="10">
                  <c:v>399</c:v>
                </c:pt>
                <c:pt idx="11">
                  <c:v>376</c:v>
                </c:pt>
                <c:pt idx="12">
                  <c:v>365</c:v>
                </c:pt>
                <c:pt idx="13">
                  <c:v>338</c:v>
                </c:pt>
                <c:pt idx="14">
                  <c:v>304</c:v>
                </c:pt>
                <c:pt idx="15">
                  <c:v>300</c:v>
                </c:pt>
                <c:pt idx="16">
                  <c:v>292</c:v>
                </c:pt>
                <c:pt idx="17">
                  <c:v>275</c:v>
                </c:pt>
                <c:pt idx="18">
                  <c:v>246</c:v>
                </c:pt>
                <c:pt idx="19">
                  <c:v>216</c:v>
                </c:pt>
                <c:pt idx="20">
                  <c:v>190</c:v>
                </c:pt>
                <c:pt idx="21">
                  <c:v>186</c:v>
                </c:pt>
                <c:pt idx="22">
                  <c:v>184</c:v>
                </c:pt>
                <c:pt idx="23">
                  <c:v>180</c:v>
                </c:pt>
                <c:pt idx="24">
                  <c:v>159</c:v>
                </c:pt>
                <c:pt idx="25">
                  <c:v>152</c:v>
                </c:pt>
                <c:pt idx="26">
                  <c:v>143</c:v>
                </c:pt>
                <c:pt idx="27">
                  <c:v>124</c:v>
                </c:pt>
                <c:pt idx="28">
                  <c:v>111</c:v>
                </c:pt>
                <c:pt idx="29">
                  <c:v>111</c:v>
                </c:pt>
                <c:pt idx="30">
                  <c:v>116</c:v>
                </c:pt>
                <c:pt idx="31">
                  <c:v>97</c:v>
                </c:pt>
                <c:pt idx="32">
                  <c:v>89</c:v>
                </c:pt>
                <c:pt idx="33">
                  <c:v>83</c:v>
                </c:pt>
                <c:pt idx="34">
                  <c:v>70</c:v>
                </c:pt>
                <c:pt idx="35">
                  <c:v>58</c:v>
                </c:pt>
                <c:pt idx="36">
                  <c:v>59</c:v>
                </c:pt>
                <c:pt idx="37">
                  <c:v>57</c:v>
                </c:pt>
                <c:pt idx="38">
                  <c:v>58</c:v>
                </c:pt>
                <c:pt idx="39">
                  <c:v>55</c:v>
                </c:pt>
                <c:pt idx="40">
                  <c:v>52</c:v>
                </c:pt>
                <c:pt idx="41">
                  <c:v>37</c:v>
                </c:pt>
                <c:pt idx="42">
                  <c:v>36</c:v>
                </c:pt>
                <c:pt idx="43">
                  <c:v>34</c:v>
                </c:pt>
                <c:pt idx="44">
                  <c:v>36</c:v>
                </c:pt>
                <c:pt idx="45">
                  <c:v>26</c:v>
                </c:pt>
                <c:pt idx="46">
                  <c:v>24</c:v>
                </c:pt>
                <c:pt idx="47">
                  <c:v>23</c:v>
                </c:pt>
                <c:pt idx="48">
                  <c:v>21</c:v>
                </c:pt>
                <c:pt idx="49">
                  <c:v>18</c:v>
                </c:pt>
                <c:pt idx="50">
                  <c:v>20</c:v>
                </c:pt>
                <c:pt idx="51">
                  <c:v>18</c:v>
                </c:pt>
                <c:pt idx="52">
                  <c:v>17</c:v>
                </c:pt>
                <c:pt idx="53">
                  <c:v>14</c:v>
                </c:pt>
                <c:pt idx="54">
                  <c:v>16</c:v>
                </c:pt>
                <c:pt idx="55">
                  <c:v>16</c:v>
                </c:pt>
                <c:pt idx="56">
                  <c:v>13</c:v>
                </c:pt>
                <c:pt idx="57">
                  <c:v>12</c:v>
                </c:pt>
                <c:pt idx="58">
                  <c:v>14</c:v>
                </c:pt>
                <c:pt idx="59">
                  <c:v>15</c:v>
                </c:pt>
                <c:pt idx="60">
                  <c:v>13</c:v>
                </c:pt>
                <c:pt idx="61">
                  <c:v>14</c:v>
                </c:pt>
                <c:pt idx="62">
                  <c:v>7</c:v>
                </c:pt>
                <c:pt idx="63">
                  <c:v>6</c:v>
                </c:pt>
                <c:pt idx="64">
                  <c:v>7</c:v>
                </c:pt>
                <c:pt idx="65">
                  <c:v>11</c:v>
                </c:pt>
                <c:pt idx="66">
                  <c:v>11</c:v>
                </c:pt>
                <c:pt idx="67">
                  <c:v>12</c:v>
                </c:pt>
                <c:pt idx="68">
                  <c:v>11</c:v>
                </c:pt>
                <c:pt idx="69">
                  <c:v>8</c:v>
                </c:pt>
                <c:pt idx="70">
                  <c:v>7</c:v>
                </c:pt>
                <c:pt idx="71">
                  <c:v>8</c:v>
                </c:pt>
                <c:pt idx="72">
                  <c:v>9</c:v>
                </c:pt>
                <c:pt idx="73">
                  <c:v>8</c:v>
                </c:pt>
                <c:pt idx="74">
                  <c:v>9</c:v>
                </c:pt>
                <c:pt idx="75">
                  <c:v>9</c:v>
                </c:pt>
                <c:pt idx="76">
                  <c:v>10</c:v>
                </c:pt>
                <c:pt idx="77">
                  <c:v>9</c:v>
                </c:pt>
                <c:pt idx="78">
                  <c:v>10</c:v>
                </c:pt>
                <c:pt idx="79">
                  <c:v>10</c:v>
                </c:pt>
                <c:pt idx="80">
                  <c:v>5</c:v>
                </c:pt>
                <c:pt idx="81">
                  <c:v>8</c:v>
                </c:pt>
                <c:pt idx="82">
                  <c:v>12</c:v>
                </c:pt>
                <c:pt idx="83">
                  <c:v>11</c:v>
                </c:pt>
                <c:pt idx="84">
                  <c:v>8</c:v>
                </c:pt>
                <c:pt idx="85">
                  <c:v>9</c:v>
                </c:pt>
                <c:pt idx="86">
                  <c:v>9</c:v>
                </c:pt>
                <c:pt idx="87">
                  <c:v>10</c:v>
                </c:pt>
                <c:pt idx="88">
                  <c:v>11</c:v>
                </c:pt>
                <c:pt idx="89">
                  <c:v>14</c:v>
                </c:pt>
                <c:pt idx="90">
                  <c:v>16</c:v>
                </c:pt>
                <c:pt idx="91">
                  <c:v>17</c:v>
                </c:pt>
                <c:pt idx="92">
                  <c:v>16</c:v>
                </c:pt>
                <c:pt idx="93">
                  <c:v>14</c:v>
                </c:pt>
                <c:pt idx="94">
                  <c:v>16</c:v>
                </c:pt>
                <c:pt idx="95">
                  <c:v>17</c:v>
                </c:pt>
                <c:pt idx="96">
                  <c:v>16</c:v>
                </c:pt>
                <c:pt idx="97">
                  <c:v>14</c:v>
                </c:pt>
                <c:pt idx="98">
                  <c:v>12</c:v>
                </c:pt>
                <c:pt idx="99">
                  <c:v>15</c:v>
                </c:pt>
                <c:pt idx="100">
                  <c:v>17</c:v>
                </c:pt>
                <c:pt idx="101">
                  <c:v>16</c:v>
                </c:pt>
                <c:pt idx="102">
                  <c:v>18</c:v>
                </c:pt>
                <c:pt idx="103">
                  <c:v>18</c:v>
                </c:pt>
                <c:pt idx="104">
                  <c:v>17</c:v>
                </c:pt>
                <c:pt idx="105">
                  <c:v>18</c:v>
                </c:pt>
                <c:pt idx="106">
                  <c:v>15</c:v>
                </c:pt>
                <c:pt idx="107">
                  <c:v>17</c:v>
                </c:pt>
                <c:pt idx="108">
                  <c:v>17</c:v>
                </c:pt>
                <c:pt idx="109">
                  <c:v>16</c:v>
                </c:pt>
                <c:pt idx="110">
                  <c:v>17</c:v>
                </c:pt>
                <c:pt idx="111">
                  <c:v>17</c:v>
                </c:pt>
                <c:pt idx="112">
                  <c:v>15</c:v>
                </c:pt>
                <c:pt idx="113">
                  <c:v>16</c:v>
                </c:pt>
                <c:pt idx="114">
                  <c:v>17</c:v>
                </c:pt>
                <c:pt idx="115">
                  <c:v>15</c:v>
                </c:pt>
                <c:pt idx="116">
                  <c:v>18</c:v>
                </c:pt>
                <c:pt idx="117">
                  <c:v>16</c:v>
                </c:pt>
                <c:pt idx="118">
                  <c:v>14</c:v>
                </c:pt>
                <c:pt idx="119">
                  <c:v>13</c:v>
                </c:pt>
                <c:pt idx="120">
                  <c:v>9</c:v>
                </c:pt>
                <c:pt idx="121">
                  <c:v>10</c:v>
                </c:pt>
                <c:pt idx="122">
                  <c:v>10</c:v>
                </c:pt>
                <c:pt idx="123">
                  <c:v>12</c:v>
                </c:pt>
                <c:pt idx="124">
                  <c:v>13</c:v>
                </c:pt>
                <c:pt idx="125">
                  <c:v>14</c:v>
                </c:pt>
                <c:pt idx="126">
                  <c:v>16</c:v>
                </c:pt>
                <c:pt idx="127">
                  <c:v>16</c:v>
                </c:pt>
                <c:pt idx="128">
                  <c:v>23</c:v>
                </c:pt>
                <c:pt idx="129">
                  <c:v>26</c:v>
                </c:pt>
                <c:pt idx="130">
                  <c:v>24</c:v>
                </c:pt>
                <c:pt idx="131">
                  <c:v>22</c:v>
                </c:pt>
                <c:pt idx="132">
                  <c:v>24</c:v>
                </c:pt>
                <c:pt idx="133">
                  <c:v>27</c:v>
                </c:pt>
                <c:pt idx="134">
                  <c:v>31</c:v>
                </c:pt>
                <c:pt idx="135">
                  <c:v>35</c:v>
                </c:pt>
                <c:pt idx="136">
                  <c:v>41</c:v>
                </c:pt>
                <c:pt idx="137">
                  <c:v>38</c:v>
                </c:pt>
                <c:pt idx="138">
                  <c:v>43</c:v>
                </c:pt>
                <c:pt idx="139">
                  <c:v>45</c:v>
                </c:pt>
                <c:pt idx="140">
                  <c:v>42</c:v>
                </c:pt>
                <c:pt idx="141">
                  <c:v>39</c:v>
                </c:pt>
                <c:pt idx="142">
                  <c:v>41</c:v>
                </c:pt>
                <c:pt idx="143">
                  <c:v>38</c:v>
                </c:pt>
                <c:pt idx="144">
                  <c:v>36</c:v>
                </c:pt>
                <c:pt idx="145">
                  <c:v>37</c:v>
                </c:pt>
                <c:pt idx="146">
                  <c:v>37</c:v>
                </c:pt>
                <c:pt idx="147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C$2:$C$158</c:f>
              <c:numCache>
                <c:formatCode>General</c:formatCode>
                <c:ptCount val="157"/>
                <c:pt idx="0">
                  <c:v>599.46645891760454</c:v>
                </c:pt>
                <c:pt idx="1">
                  <c:v>569.10221021604536</c:v>
                </c:pt>
                <c:pt idx="2">
                  <c:v>539.94260128096687</c:v>
                </c:pt>
                <c:pt idx="3">
                  <c:v>512.65940907569063</c:v>
                </c:pt>
                <c:pt idx="4">
                  <c:v>487.1258132913552</c:v>
                </c:pt>
                <c:pt idx="5">
                  <c:v>460.51499405829281</c:v>
                </c:pt>
                <c:pt idx="6">
                  <c:v>434.8973337156815</c:v>
                </c:pt>
                <c:pt idx="7">
                  <c:v>411.12891863179618</c:v>
                </c:pt>
                <c:pt idx="8">
                  <c:v>388.07024508281552</c:v>
                </c:pt>
                <c:pt idx="9">
                  <c:v>365.29035647634589</c:v>
                </c:pt>
                <c:pt idx="10">
                  <c:v>343.83630503100665</c:v>
                </c:pt>
                <c:pt idx="11">
                  <c:v>322.90590340919152</c:v>
                </c:pt>
                <c:pt idx="12">
                  <c:v>302.60359279710229</c:v>
                </c:pt>
                <c:pt idx="13">
                  <c:v>284.21760257217557</c:v>
                </c:pt>
                <c:pt idx="14">
                  <c:v>267.35701436371266</c:v>
                </c:pt>
                <c:pt idx="15">
                  <c:v>251.95736487185434</c:v>
                </c:pt>
                <c:pt idx="16">
                  <c:v>237.06915830096582</c:v>
                </c:pt>
                <c:pt idx="17">
                  <c:v>223.03719981105192</c:v>
                </c:pt>
                <c:pt idx="18">
                  <c:v>209.93846693454086</c:v>
                </c:pt>
                <c:pt idx="19">
                  <c:v>196.6071661972536</c:v>
                </c:pt>
                <c:pt idx="20">
                  <c:v>184.33342777197231</c:v>
                </c:pt>
                <c:pt idx="21">
                  <c:v>173.3132223757697</c:v>
                </c:pt>
                <c:pt idx="22">
                  <c:v>163.06738982045653</c:v>
                </c:pt>
                <c:pt idx="23">
                  <c:v>153.21031823043302</c:v>
                </c:pt>
                <c:pt idx="24">
                  <c:v>144.23950527650635</c:v>
                </c:pt>
                <c:pt idx="25">
                  <c:v>135.5993929879406</c:v>
                </c:pt>
                <c:pt idx="26">
                  <c:v>126.84750189822905</c:v>
                </c:pt>
                <c:pt idx="27">
                  <c:v>118.81387902708688</c:v>
                </c:pt>
                <c:pt idx="28">
                  <c:v>111.41200472809781</c:v>
                </c:pt>
                <c:pt idx="29">
                  <c:v>104.3172451055449</c:v>
                </c:pt>
                <c:pt idx="30">
                  <c:v>97.371287709529568</c:v>
                </c:pt>
                <c:pt idx="31">
                  <c:v>91.273309974660037</c:v>
                </c:pt>
                <c:pt idx="32">
                  <c:v>85.609519482130139</c:v>
                </c:pt>
                <c:pt idx="33">
                  <c:v>79.446235943698028</c:v>
                </c:pt>
                <c:pt idx="34">
                  <c:v>74.673598823812483</c:v>
                </c:pt>
                <c:pt idx="35">
                  <c:v>70.187072929924696</c:v>
                </c:pt>
                <c:pt idx="36">
                  <c:v>65.972355499266868</c:v>
                </c:pt>
                <c:pt idx="37">
                  <c:v>62.009477446305176</c:v>
                </c:pt>
                <c:pt idx="38">
                  <c:v>58.297128651988579</c:v>
                </c:pt>
                <c:pt idx="39">
                  <c:v>54.828658727804608</c:v>
                </c:pt>
                <c:pt idx="40">
                  <c:v>51.591117464418424</c:v>
                </c:pt>
                <c:pt idx="41">
                  <c:v>48.580240674218473</c:v>
                </c:pt>
                <c:pt idx="42">
                  <c:v>45.791326572660246</c:v>
                </c:pt>
                <c:pt idx="43">
                  <c:v>43.211902341312843</c:v>
                </c:pt>
                <c:pt idx="44">
                  <c:v>40.830007655708265</c:v>
                </c:pt>
                <c:pt idx="45">
                  <c:v>38.629440642874805</c:v>
                </c:pt>
                <c:pt idx="46">
                  <c:v>36.595334469082282</c:v>
                </c:pt>
                <c:pt idx="47">
                  <c:v>34.71253835199424</c:v>
                </c:pt>
                <c:pt idx="48">
                  <c:v>32.972543386508413</c:v>
                </c:pt>
                <c:pt idx="49">
                  <c:v>31.368617758575237</c:v>
                </c:pt>
                <c:pt idx="50">
                  <c:v>29.891474772080343</c:v>
                </c:pt>
                <c:pt idx="51">
                  <c:v>28.526896023967076</c:v>
                </c:pt>
                <c:pt idx="52">
                  <c:v>27.264740625342579</c:v>
                </c:pt>
                <c:pt idx="53">
                  <c:v>26.090023110184106</c:v>
                </c:pt>
                <c:pt idx="54">
                  <c:v>24.990195319546981</c:v>
                </c:pt>
                <c:pt idx="55">
                  <c:v>23.958003433369829</c:v>
                </c:pt>
                <c:pt idx="56">
                  <c:v>22.991844027202134</c:v>
                </c:pt>
                <c:pt idx="57">
                  <c:v>22.083209306878739</c:v>
                </c:pt>
                <c:pt idx="58">
                  <c:v>21.225854843028312</c:v>
                </c:pt>
                <c:pt idx="59">
                  <c:v>20.415417030215341</c:v>
                </c:pt>
                <c:pt idx="60">
                  <c:v>19.645636269849618</c:v>
                </c:pt>
                <c:pt idx="61">
                  <c:v>18.911089222189684</c:v>
                </c:pt>
                <c:pt idx="62">
                  <c:v>18.208078255194312</c:v>
                </c:pt>
                <c:pt idx="63">
                  <c:v>17.533537414716601</c:v>
                </c:pt>
                <c:pt idx="64">
                  <c:v>16.884793232237868</c:v>
                </c:pt>
                <c:pt idx="65">
                  <c:v>16.259557045710405</c:v>
                </c:pt>
                <c:pt idx="66">
                  <c:v>15.655845333051076</c:v>
                </c:pt>
                <c:pt idx="67">
                  <c:v>15.071928073945967</c:v>
                </c:pt>
                <c:pt idx="68">
                  <c:v>14.506332272879408</c:v>
                </c:pt>
                <c:pt idx="69">
                  <c:v>13.957644556938806</c:v>
                </c:pt>
                <c:pt idx="70">
                  <c:v>13.424628434728794</c:v>
                </c:pt>
                <c:pt idx="71">
                  <c:v>12.906139143716864</c:v>
                </c:pt>
                <c:pt idx="72">
                  <c:v>12.401102981675914</c:v>
                </c:pt>
                <c:pt idx="73">
                  <c:v>11.908506785220421</c:v>
                </c:pt>
                <c:pt idx="74">
                  <c:v>11.427403531444231</c:v>
                </c:pt>
                <c:pt idx="75">
                  <c:v>10.956962789226759</c:v>
                </c:pt>
                <c:pt idx="76">
                  <c:v>10.496486213028406</c:v>
                </c:pt>
                <c:pt idx="77">
                  <c:v>10.045456034336617</c:v>
                </c:pt>
                <c:pt idx="78">
                  <c:v>9.6035414816567766</c:v>
                </c:pt>
                <c:pt idx="79">
                  <c:v>9.1705930186180513</c:v>
                </c:pt>
                <c:pt idx="80">
                  <c:v>8.7466100834906353</c:v>
                </c:pt>
                <c:pt idx="81">
                  <c:v>8.331737380075948</c:v>
                </c:pt>
                <c:pt idx="82">
                  <c:v>7.9262201104904326</c:v>
                </c:pt>
                <c:pt idx="83">
                  <c:v>7.5303797194669553</c:v>
                </c:pt>
                <c:pt idx="84">
                  <c:v>7.1445919510933216</c:v>
                </c:pt>
                <c:pt idx="85">
                  <c:v>6.7692689492965323</c:v>
                </c:pt>
                <c:pt idx="86">
                  <c:v>6.4048351158273169</c:v>
                </c:pt>
                <c:pt idx="87">
                  <c:v>6.0516930234778172</c:v>
                </c:pt>
                <c:pt idx="88">
                  <c:v>5.7102085666479194</c:v>
                </c:pt>
                <c:pt idx="89">
                  <c:v>5.3806948008185129</c:v>
                </c:pt>
                <c:pt idx="90">
                  <c:v>5.0634087940469819</c:v>
                </c:pt>
                <c:pt idx="91">
                  <c:v>4.7585460706956795</c:v>
                </c:pt>
                <c:pt idx="92">
                  <c:v>4.466239348608573</c:v>
                </c:pt>
                <c:pt idx="93">
                  <c:v>4.1865669740402298</c:v>
                </c:pt>
                <c:pt idx="94">
                  <c:v>3.9195409630341556</c:v>
                </c:pt>
                <c:pt idx="95">
                  <c:v>3.6651121577509844</c:v>
                </c:pt>
                <c:pt idx="96">
                  <c:v>3.4231715727706642</c:v>
                </c:pt>
                <c:pt idx="97">
                  <c:v>3.1935530637636886</c:v>
                </c:pt>
                <c:pt idx="98">
                  <c:v>2.9760379958762444</c:v>
                </c:pt>
                <c:pt idx="99">
                  <c:v>2.7703632609880833</c:v>
                </c:pt>
                <c:pt idx="100">
                  <c:v>2.5762171938513703</c:v>
                </c:pt>
                <c:pt idx="101">
                  <c:v>2.3932502605741961</c:v>
                </c:pt>
                <c:pt idx="102">
                  <c:v>2.2210827469374723</c:v>
                </c:pt>
                <c:pt idx="103">
                  <c:v>2.0593129882197214</c:v>
                </c:pt>
                <c:pt idx="104">
                  <c:v>1.9075239747535306</c:v>
                </c:pt>
                <c:pt idx="105">
                  <c:v>1.7652884243643723</c:v>
                </c:pt>
                <c:pt idx="106">
                  <c:v>1.8216902920128402</c:v>
                </c:pt>
                <c:pt idx="107">
                  <c:v>2.0126958225648126</c:v>
                </c:pt>
                <c:pt idx="108">
                  <c:v>2.3314708837776275</c:v>
                </c:pt>
                <c:pt idx="109">
                  <c:v>2.7698448402605473</c:v>
                </c:pt>
                <c:pt idx="110">
                  <c:v>3.318114125125132</c:v>
                </c:pt>
                <c:pt idx="111">
                  <c:v>3.9733935804293354</c:v>
                </c:pt>
                <c:pt idx="112">
                  <c:v>4.7297621671734023</c:v>
                </c:pt>
                <c:pt idx="113">
                  <c:v>5.5783449547608592</c:v>
                </c:pt>
                <c:pt idx="114">
                  <c:v>6.5085244293734741</c:v>
                </c:pt>
                <c:pt idx="115">
                  <c:v>7.508652204922023</c:v>
                </c:pt>
                <c:pt idx="116">
                  <c:v>8.5668985382494149</c:v>
                </c:pt>
                <c:pt idx="117">
                  <c:v>9.671953110310497</c:v>
                </c:pt>
                <c:pt idx="118">
                  <c:v>10.813266446378751</c:v>
                </c:pt>
                <c:pt idx="119">
                  <c:v>11.98108744431978</c:v>
                </c:pt>
                <c:pt idx="120">
                  <c:v>13.16641977666853</c:v>
                </c:pt>
                <c:pt idx="121">
                  <c:v>14.360828567282994</c:v>
                </c:pt>
                <c:pt idx="122">
                  <c:v>15.556402978534877</c:v>
                </c:pt>
                <c:pt idx="123">
                  <c:v>16.746260384747032</c:v>
                </c:pt>
                <c:pt idx="124">
                  <c:v>17.924722169957306</c:v>
                </c:pt>
                <c:pt idx="125">
                  <c:v>19.087198159646789</c:v>
                </c:pt>
                <c:pt idx="126">
                  <c:v>20.229957452313599</c:v>
                </c:pt>
                <c:pt idx="127">
                  <c:v>21.350139250531171</c:v>
                </c:pt>
                <c:pt idx="128">
                  <c:v>22.445642543491083</c:v>
                </c:pt>
                <c:pt idx="129">
                  <c:v>23.514997730060259</c:v>
                </c:pt>
                <c:pt idx="130">
                  <c:v>24.557292856376563</c:v>
                </c:pt>
                <c:pt idx="131">
                  <c:v>25.571993267414065</c:v>
                </c:pt>
                <c:pt idx="132">
                  <c:v>26.558916126562536</c:v>
                </c:pt>
                <c:pt idx="133">
                  <c:v>27.518174055659159</c:v>
                </c:pt>
                <c:pt idx="134">
                  <c:v>28.450167626899294</c:v>
                </c:pt>
                <c:pt idx="135">
                  <c:v>29.355588884580953</c:v>
                </c:pt>
                <c:pt idx="136">
                  <c:v>30.235326523767831</c:v>
                </c:pt>
                <c:pt idx="137">
                  <c:v>31.0904030085755</c:v>
                </c:pt>
                <c:pt idx="138">
                  <c:v>31.921945321567648</c:v>
                </c:pt>
                <c:pt idx="139">
                  <c:v>32.731145110281716</c:v>
                </c:pt>
                <c:pt idx="140">
                  <c:v>33.5192127577468</c:v>
                </c:pt>
                <c:pt idx="141">
                  <c:v>34.287367386138591</c:v>
                </c:pt>
                <c:pt idx="142">
                  <c:v>35.036728476470316</c:v>
                </c:pt>
                <c:pt idx="143">
                  <c:v>35.768337178338975</c:v>
                </c:pt>
                <c:pt idx="144">
                  <c:v>36.483165431840241</c:v>
                </c:pt>
                <c:pt idx="145">
                  <c:v>37.182127630615497</c:v>
                </c:pt>
                <c:pt idx="146">
                  <c:v>37.866070830822238</c:v>
                </c:pt>
                <c:pt idx="147">
                  <c:v>38.535761495361641</c:v>
                </c:pt>
                <c:pt idx="148">
                  <c:v>39.191872330423827</c:v>
                </c:pt>
                <c:pt idx="149">
                  <c:v>39.834982407348079</c:v>
                </c:pt>
                <c:pt idx="150">
                  <c:v>40.465572912946079</c:v>
                </c:pt>
                <c:pt idx="151">
                  <c:v>41.084025691584358</c:v>
                </c:pt>
                <c:pt idx="152">
                  <c:v>41.690640635086716</c:v>
                </c:pt>
                <c:pt idx="153">
                  <c:v>42.285651629634522</c:v>
                </c:pt>
                <c:pt idx="154">
                  <c:v>42.869234859637189</c:v>
                </c:pt>
                <c:pt idx="155">
                  <c:v>43.441507960342058</c:v>
                </c:pt>
                <c:pt idx="156">
                  <c:v>44.0025241999742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D$2:$D$158</c:f>
              <c:numCache>
                <c:formatCode>General</c:formatCode>
                <c:ptCount val="157"/>
                <c:pt idx="0">
                  <c:v>599.46645891760454</c:v>
                </c:pt>
                <c:pt idx="1">
                  <c:v>569.10221021604536</c:v>
                </c:pt>
                <c:pt idx="2">
                  <c:v>539.94260128096687</c:v>
                </c:pt>
                <c:pt idx="3">
                  <c:v>512.65940907569063</c:v>
                </c:pt>
                <c:pt idx="4">
                  <c:v>487.1258132913552</c:v>
                </c:pt>
                <c:pt idx="5">
                  <c:v>460.51499405829281</c:v>
                </c:pt>
                <c:pt idx="6">
                  <c:v>434.8973337156815</c:v>
                </c:pt>
                <c:pt idx="7">
                  <c:v>411.12891863179618</c:v>
                </c:pt>
                <c:pt idx="8">
                  <c:v>388.07024508281552</c:v>
                </c:pt>
                <c:pt idx="9">
                  <c:v>365.29035647634589</c:v>
                </c:pt>
                <c:pt idx="10">
                  <c:v>343.83630503100665</c:v>
                </c:pt>
                <c:pt idx="11">
                  <c:v>322.90590340919152</c:v>
                </c:pt>
                <c:pt idx="12">
                  <c:v>302.60359279710229</c:v>
                </c:pt>
                <c:pt idx="13">
                  <c:v>284.21760257217557</c:v>
                </c:pt>
                <c:pt idx="14">
                  <c:v>267.35701436371266</c:v>
                </c:pt>
                <c:pt idx="15">
                  <c:v>251.95736487185434</c:v>
                </c:pt>
                <c:pt idx="16">
                  <c:v>237.06915830096582</c:v>
                </c:pt>
                <c:pt idx="17">
                  <c:v>223.03719981105192</c:v>
                </c:pt>
                <c:pt idx="18">
                  <c:v>209.93846693454086</c:v>
                </c:pt>
                <c:pt idx="19">
                  <c:v>196.6071661972536</c:v>
                </c:pt>
                <c:pt idx="20">
                  <c:v>184.33342777197231</c:v>
                </c:pt>
                <c:pt idx="21">
                  <c:v>173.3132223757697</c:v>
                </c:pt>
                <c:pt idx="22">
                  <c:v>163.06738982045653</c:v>
                </c:pt>
                <c:pt idx="23">
                  <c:v>153.21031823043302</c:v>
                </c:pt>
                <c:pt idx="24">
                  <c:v>144.23950527650635</c:v>
                </c:pt>
                <c:pt idx="25">
                  <c:v>135.5993929879406</c:v>
                </c:pt>
                <c:pt idx="26">
                  <c:v>126.84750189822905</c:v>
                </c:pt>
                <c:pt idx="27">
                  <c:v>118.81387902708688</c:v>
                </c:pt>
                <c:pt idx="28">
                  <c:v>111.41200472809781</c:v>
                </c:pt>
                <c:pt idx="29">
                  <c:v>104.3172451055449</c:v>
                </c:pt>
                <c:pt idx="30">
                  <c:v>97.371287709529568</c:v>
                </c:pt>
                <c:pt idx="31">
                  <c:v>91.273309974660037</c:v>
                </c:pt>
                <c:pt idx="32">
                  <c:v>85.609519482130139</c:v>
                </c:pt>
                <c:pt idx="33">
                  <c:v>79.446235943698028</c:v>
                </c:pt>
                <c:pt idx="34">
                  <c:v>74.673598823812483</c:v>
                </c:pt>
                <c:pt idx="35">
                  <c:v>70.187072929924696</c:v>
                </c:pt>
                <c:pt idx="36">
                  <c:v>65.972355499266868</c:v>
                </c:pt>
                <c:pt idx="37">
                  <c:v>62.009477446305176</c:v>
                </c:pt>
                <c:pt idx="38">
                  <c:v>58.297128651988579</c:v>
                </c:pt>
                <c:pt idx="39">
                  <c:v>54.828658727804608</c:v>
                </c:pt>
                <c:pt idx="40">
                  <c:v>51.591117464418424</c:v>
                </c:pt>
                <c:pt idx="41">
                  <c:v>48.580240674218473</c:v>
                </c:pt>
                <c:pt idx="42">
                  <c:v>45.791326572660246</c:v>
                </c:pt>
                <c:pt idx="43">
                  <c:v>43.211902341312843</c:v>
                </c:pt>
                <c:pt idx="44">
                  <c:v>40.830007655708265</c:v>
                </c:pt>
                <c:pt idx="45">
                  <c:v>38.629440642874805</c:v>
                </c:pt>
                <c:pt idx="46">
                  <c:v>36.595334469082282</c:v>
                </c:pt>
                <c:pt idx="47">
                  <c:v>34.71253835199424</c:v>
                </c:pt>
                <c:pt idx="48">
                  <c:v>32.972543386508413</c:v>
                </c:pt>
                <c:pt idx="49">
                  <c:v>31.368617758575237</c:v>
                </c:pt>
                <c:pt idx="50">
                  <c:v>29.891474772080343</c:v>
                </c:pt>
                <c:pt idx="51">
                  <c:v>28.526896023967076</c:v>
                </c:pt>
                <c:pt idx="52">
                  <c:v>27.264740625342579</c:v>
                </c:pt>
                <c:pt idx="53">
                  <c:v>26.090023110184106</c:v>
                </c:pt>
                <c:pt idx="54">
                  <c:v>24.990195319546981</c:v>
                </c:pt>
                <c:pt idx="55">
                  <c:v>23.958003433369829</c:v>
                </c:pt>
                <c:pt idx="56">
                  <c:v>22.991844027202134</c:v>
                </c:pt>
                <c:pt idx="57">
                  <c:v>22.083209306878739</c:v>
                </c:pt>
                <c:pt idx="58">
                  <c:v>21.225854843028312</c:v>
                </c:pt>
                <c:pt idx="59">
                  <c:v>20.415417030215341</c:v>
                </c:pt>
                <c:pt idx="60">
                  <c:v>19.645636269849618</c:v>
                </c:pt>
                <c:pt idx="61">
                  <c:v>18.911089222189684</c:v>
                </c:pt>
                <c:pt idx="62">
                  <c:v>18.208078255194312</c:v>
                </c:pt>
                <c:pt idx="63">
                  <c:v>17.533537414716601</c:v>
                </c:pt>
                <c:pt idx="64">
                  <c:v>16.884793232237868</c:v>
                </c:pt>
                <c:pt idx="65">
                  <c:v>16.259557045710405</c:v>
                </c:pt>
                <c:pt idx="66">
                  <c:v>15.655845333051076</c:v>
                </c:pt>
                <c:pt idx="67">
                  <c:v>15.071928073945967</c:v>
                </c:pt>
                <c:pt idx="68">
                  <c:v>14.506332272879408</c:v>
                </c:pt>
                <c:pt idx="69">
                  <c:v>13.957644556938806</c:v>
                </c:pt>
                <c:pt idx="70">
                  <c:v>13.424628434728794</c:v>
                </c:pt>
                <c:pt idx="71">
                  <c:v>12.906139143716864</c:v>
                </c:pt>
                <c:pt idx="72">
                  <c:v>12.401102981675914</c:v>
                </c:pt>
                <c:pt idx="73">
                  <c:v>11.908506785220421</c:v>
                </c:pt>
                <c:pt idx="74">
                  <c:v>11.427403531444231</c:v>
                </c:pt>
                <c:pt idx="75">
                  <c:v>10.956962789226759</c:v>
                </c:pt>
                <c:pt idx="76">
                  <c:v>10.496486213028406</c:v>
                </c:pt>
                <c:pt idx="77">
                  <c:v>10.045456034336617</c:v>
                </c:pt>
                <c:pt idx="78">
                  <c:v>9.6035414816567766</c:v>
                </c:pt>
                <c:pt idx="79">
                  <c:v>9.1705930186180513</c:v>
                </c:pt>
                <c:pt idx="80">
                  <c:v>8.7466100834906353</c:v>
                </c:pt>
                <c:pt idx="81">
                  <c:v>8.331737380075948</c:v>
                </c:pt>
                <c:pt idx="82">
                  <c:v>7.9262201104904326</c:v>
                </c:pt>
                <c:pt idx="83">
                  <c:v>7.5303797194669553</c:v>
                </c:pt>
                <c:pt idx="84">
                  <c:v>7.1445919510933216</c:v>
                </c:pt>
                <c:pt idx="85">
                  <c:v>6.7692689492965323</c:v>
                </c:pt>
                <c:pt idx="86">
                  <c:v>6.4048351158273169</c:v>
                </c:pt>
                <c:pt idx="87">
                  <c:v>6.0516930234778172</c:v>
                </c:pt>
                <c:pt idx="88">
                  <c:v>5.7102085666479194</c:v>
                </c:pt>
                <c:pt idx="89">
                  <c:v>5.3806948008185129</c:v>
                </c:pt>
                <c:pt idx="90">
                  <c:v>5.0634087940469819</c:v>
                </c:pt>
                <c:pt idx="91">
                  <c:v>4.7585460706956795</c:v>
                </c:pt>
                <c:pt idx="92">
                  <c:v>4.466239348608573</c:v>
                </c:pt>
                <c:pt idx="93">
                  <c:v>4.1865669740402298</c:v>
                </c:pt>
                <c:pt idx="94">
                  <c:v>3.9195409630341556</c:v>
                </c:pt>
                <c:pt idx="95">
                  <c:v>3.6651121577509844</c:v>
                </c:pt>
                <c:pt idx="96">
                  <c:v>3.4231715727706642</c:v>
                </c:pt>
                <c:pt idx="97">
                  <c:v>3.1935530637636886</c:v>
                </c:pt>
                <c:pt idx="98">
                  <c:v>2.9760379958762444</c:v>
                </c:pt>
                <c:pt idx="99">
                  <c:v>2.7703632609880833</c:v>
                </c:pt>
                <c:pt idx="100">
                  <c:v>2.5762171938513703</c:v>
                </c:pt>
                <c:pt idx="101">
                  <c:v>2.3932502605741961</c:v>
                </c:pt>
                <c:pt idx="102">
                  <c:v>2.2210827469374723</c:v>
                </c:pt>
                <c:pt idx="103">
                  <c:v>2.0593129882197214</c:v>
                </c:pt>
                <c:pt idx="104">
                  <c:v>1.9075239747535306</c:v>
                </c:pt>
                <c:pt idx="105">
                  <c:v>1.7652884243643723</c:v>
                </c:pt>
                <c:pt idx="106">
                  <c:v>2.0316806488134889</c:v>
                </c:pt>
                <c:pt idx="107">
                  <c:v>2.4874897402028155</c:v>
                </c:pt>
                <c:pt idx="108">
                  <c:v>3.1309691054080462</c:v>
                </c:pt>
                <c:pt idx="109">
                  <c:v>3.9585582446791117</c:v>
                </c:pt>
                <c:pt idx="110">
                  <c:v>4.9647219824962763</c:v>
                </c:pt>
                <c:pt idx="111">
                  <c:v>6.1547385887495745</c:v>
                </c:pt>
                <c:pt idx="112">
                  <c:v>7.5294706968084357</c:v>
                </c:pt>
                <c:pt idx="113">
                  <c:v>9.0849737633807699</c:v>
                </c:pt>
                <c:pt idx="114">
                  <c:v>10.81434337491072</c:v>
                </c:pt>
                <c:pt idx="115">
                  <c:v>12.708835694004261</c:v>
                </c:pt>
                <c:pt idx="116">
                  <c:v>14.759009398384926</c:v>
                </c:pt>
                <c:pt idx="117">
                  <c:v>16.955717033834269</c:v>
                </c:pt>
                <c:pt idx="118">
                  <c:v>19.290494876355588</c:v>
                </c:pt>
                <c:pt idx="119">
                  <c:v>21.755721467973849</c:v>
                </c:pt>
                <c:pt idx="120">
                  <c:v>24.344666995789858</c:v>
                </c:pt>
                <c:pt idx="121">
                  <c:v>27.051260952817543</c:v>
                </c:pt>
                <c:pt idx="122">
                  <c:v>29.869970601355853</c:v>
                </c:pt>
                <c:pt idx="123">
                  <c:v>32.796385728615483</c:v>
                </c:pt>
                <c:pt idx="124">
                  <c:v>35.827601088049093</c:v>
                </c:pt>
                <c:pt idx="125">
                  <c:v>38.962191710077761</c:v>
                </c:pt>
                <c:pt idx="126">
                  <c:v>42.199921997343253</c:v>
                </c:pt>
                <c:pt idx="127">
                  <c:v>45.54174345766792</c:v>
                </c:pt>
                <c:pt idx="128">
                  <c:v>48.989748195013689</c:v>
                </c:pt>
                <c:pt idx="129">
                  <c:v>52.547013122473757</c:v>
                </c:pt>
                <c:pt idx="130">
                  <c:v>56.2175138245548</c:v>
                </c:pt>
                <c:pt idx="131">
                  <c:v>60.005911964728455</c:v>
                </c:pt>
                <c:pt idx="132">
                  <c:v>63.917498603385823</c:v>
                </c:pt>
                <c:pt idx="133">
                  <c:v>67.95814979143681</c:v>
                </c:pt>
                <c:pt idx="134">
                  <c:v>72.134354686817701</c:v>
                </c:pt>
                <c:pt idx="135">
                  <c:v>76.453207955683482</c:v>
                </c:pt>
                <c:pt idx="136">
                  <c:v>80.922306537757478</c:v>
                </c:pt>
                <c:pt idx="137">
                  <c:v>85.549687020506795</c:v>
                </c:pt>
                <c:pt idx="138">
                  <c:v>90.343802913884005</c:v>
                </c:pt>
                <c:pt idx="139">
                  <c:v>95.313480774594836</c:v>
                </c:pt>
                <c:pt idx="140">
                  <c:v>100.46787461911273</c:v>
                </c:pt>
                <c:pt idx="141">
                  <c:v>105.8164577547451</c:v>
                </c:pt>
                <c:pt idx="142">
                  <c:v>111.36899487339957</c:v>
                </c:pt>
                <c:pt idx="143">
                  <c:v>117.13555920246648</c:v>
                </c:pt>
                <c:pt idx="144">
                  <c:v>123.12653623188925</c:v>
                </c:pt>
                <c:pt idx="145">
                  <c:v>129.35262541679757</c:v>
                </c:pt>
                <c:pt idx="146">
                  <c:v>135.82483646757467</c:v>
                </c:pt>
                <c:pt idx="147">
                  <c:v>142.55450019304521</c:v>
                </c:pt>
                <c:pt idx="148">
                  <c:v>149.55327217198339</c:v>
                </c:pt>
                <c:pt idx="149">
                  <c:v>156.83314911029456</c:v>
                </c:pt>
                <c:pt idx="150">
                  <c:v>164.40647352998528</c:v>
                </c:pt>
                <c:pt idx="151">
                  <c:v>172.28593718147221</c:v>
                </c:pt>
                <c:pt idx="152">
                  <c:v>180.48460783807332</c:v>
                </c:pt>
                <c:pt idx="153">
                  <c:v>189.01595516806398</c:v>
                </c:pt>
                <c:pt idx="154">
                  <c:v>197.89387157327107</c:v>
                </c:pt>
                <c:pt idx="155">
                  <c:v>207.13268468816716</c:v>
                </c:pt>
                <c:pt idx="156">
                  <c:v>216.747159974089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F$2:$F$158</c:f>
              <c:numCache>
                <c:formatCode>General</c:formatCode>
                <c:ptCount val="157"/>
                <c:pt idx="0">
                  <c:v>599.46645891760454</c:v>
                </c:pt>
                <c:pt idx="1">
                  <c:v>569.10221021604536</c:v>
                </c:pt>
                <c:pt idx="2">
                  <c:v>539.94260128096687</c:v>
                </c:pt>
                <c:pt idx="3">
                  <c:v>512.65940907569063</c:v>
                </c:pt>
                <c:pt idx="4">
                  <c:v>487.1258132913552</c:v>
                </c:pt>
                <c:pt idx="5">
                  <c:v>460.51499405829281</c:v>
                </c:pt>
                <c:pt idx="6">
                  <c:v>434.8973337156815</c:v>
                </c:pt>
                <c:pt idx="7">
                  <c:v>411.12891863179618</c:v>
                </c:pt>
                <c:pt idx="8">
                  <c:v>388.07024508281552</c:v>
                </c:pt>
                <c:pt idx="9">
                  <c:v>365.29035647634589</c:v>
                </c:pt>
                <c:pt idx="10">
                  <c:v>343.83630503100665</c:v>
                </c:pt>
                <c:pt idx="11">
                  <c:v>322.90590340919152</c:v>
                </c:pt>
                <c:pt idx="12">
                  <c:v>302.60359279710229</c:v>
                </c:pt>
                <c:pt idx="13">
                  <c:v>284.21760257217557</c:v>
                </c:pt>
                <c:pt idx="14">
                  <c:v>267.35701436371266</c:v>
                </c:pt>
                <c:pt idx="15">
                  <c:v>251.95736487185434</c:v>
                </c:pt>
                <c:pt idx="16">
                  <c:v>237.06915830096582</c:v>
                </c:pt>
                <c:pt idx="17">
                  <c:v>223.03719981105192</c:v>
                </c:pt>
                <c:pt idx="18">
                  <c:v>209.93846693454086</c:v>
                </c:pt>
                <c:pt idx="19">
                  <c:v>196.6071661972536</c:v>
                </c:pt>
                <c:pt idx="20">
                  <c:v>184.33342777197231</c:v>
                </c:pt>
                <c:pt idx="21">
                  <c:v>173.3132223757697</c:v>
                </c:pt>
                <c:pt idx="22">
                  <c:v>163.06738982045653</c:v>
                </c:pt>
                <c:pt idx="23">
                  <c:v>153.21031823043302</c:v>
                </c:pt>
                <c:pt idx="24">
                  <c:v>144.23950527650635</c:v>
                </c:pt>
                <c:pt idx="25">
                  <c:v>135.5993929879406</c:v>
                </c:pt>
                <c:pt idx="26">
                  <c:v>126.84750189822905</c:v>
                </c:pt>
                <c:pt idx="27">
                  <c:v>118.81387902708688</c:v>
                </c:pt>
                <c:pt idx="28">
                  <c:v>111.41200472809781</c:v>
                </c:pt>
                <c:pt idx="29">
                  <c:v>104.3172451055449</c:v>
                </c:pt>
                <c:pt idx="30">
                  <c:v>97.371287709529568</c:v>
                </c:pt>
                <c:pt idx="31">
                  <c:v>91.273309974660037</c:v>
                </c:pt>
                <c:pt idx="32">
                  <c:v>85.609519482130139</c:v>
                </c:pt>
                <c:pt idx="33">
                  <c:v>79.446235943698028</c:v>
                </c:pt>
                <c:pt idx="34">
                  <c:v>74.673598823812483</c:v>
                </c:pt>
                <c:pt idx="35">
                  <c:v>70.187072929924696</c:v>
                </c:pt>
                <c:pt idx="36">
                  <c:v>65.972355499266868</c:v>
                </c:pt>
                <c:pt idx="37">
                  <c:v>62.009477446305176</c:v>
                </c:pt>
                <c:pt idx="38">
                  <c:v>58.297128651988579</c:v>
                </c:pt>
                <c:pt idx="39">
                  <c:v>54.828658727804608</c:v>
                </c:pt>
                <c:pt idx="40">
                  <c:v>51.591117464418424</c:v>
                </c:pt>
                <c:pt idx="41">
                  <c:v>48.580240674218473</c:v>
                </c:pt>
                <c:pt idx="42">
                  <c:v>45.791326572660246</c:v>
                </c:pt>
                <c:pt idx="43">
                  <c:v>43.211902341312843</c:v>
                </c:pt>
                <c:pt idx="44">
                  <c:v>40.830007655708265</c:v>
                </c:pt>
                <c:pt idx="45">
                  <c:v>38.629440642874805</c:v>
                </c:pt>
                <c:pt idx="46">
                  <c:v>36.595334469082282</c:v>
                </c:pt>
                <c:pt idx="47">
                  <c:v>34.71253835199424</c:v>
                </c:pt>
                <c:pt idx="48">
                  <c:v>32.972543386508413</c:v>
                </c:pt>
                <c:pt idx="49">
                  <c:v>31.368617758575237</c:v>
                </c:pt>
                <c:pt idx="50">
                  <c:v>29.891474772080343</c:v>
                </c:pt>
                <c:pt idx="51">
                  <c:v>28.526896023967076</c:v>
                </c:pt>
                <c:pt idx="52">
                  <c:v>27.264740625342579</c:v>
                </c:pt>
                <c:pt idx="53">
                  <c:v>26.090023110184106</c:v>
                </c:pt>
                <c:pt idx="54">
                  <c:v>24.990195319546981</c:v>
                </c:pt>
                <c:pt idx="55">
                  <c:v>23.958003433369829</c:v>
                </c:pt>
                <c:pt idx="56">
                  <c:v>22.991844027202134</c:v>
                </c:pt>
                <c:pt idx="57">
                  <c:v>22.083209306878739</c:v>
                </c:pt>
                <c:pt idx="58">
                  <c:v>21.225854843028312</c:v>
                </c:pt>
                <c:pt idx="59">
                  <c:v>20.415417030215341</c:v>
                </c:pt>
                <c:pt idx="60">
                  <c:v>19.645636269849618</c:v>
                </c:pt>
                <c:pt idx="61">
                  <c:v>18.911089222189684</c:v>
                </c:pt>
                <c:pt idx="62">
                  <c:v>18.208078255194312</c:v>
                </c:pt>
                <c:pt idx="63">
                  <c:v>17.533537414716601</c:v>
                </c:pt>
                <c:pt idx="64">
                  <c:v>16.884793232237868</c:v>
                </c:pt>
                <c:pt idx="65">
                  <c:v>16.259557045710405</c:v>
                </c:pt>
                <c:pt idx="66">
                  <c:v>15.655845333051076</c:v>
                </c:pt>
                <c:pt idx="67">
                  <c:v>15.071928073945967</c:v>
                </c:pt>
                <c:pt idx="68">
                  <c:v>14.506332272879408</c:v>
                </c:pt>
                <c:pt idx="69">
                  <c:v>13.957644556938806</c:v>
                </c:pt>
                <c:pt idx="70">
                  <c:v>13.424628434728794</c:v>
                </c:pt>
                <c:pt idx="71">
                  <c:v>12.906139143716864</c:v>
                </c:pt>
                <c:pt idx="72">
                  <c:v>12.401102981675914</c:v>
                </c:pt>
                <c:pt idx="73">
                  <c:v>11.908506785220421</c:v>
                </c:pt>
                <c:pt idx="74">
                  <c:v>11.427403531444231</c:v>
                </c:pt>
                <c:pt idx="75">
                  <c:v>10.956962789226759</c:v>
                </c:pt>
                <c:pt idx="76">
                  <c:v>10.496486213028406</c:v>
                </c:pt>
                <c:pt idx="77">
                  <c:v>10.045456034336617</c:v>
                </c:pt>
                <c:pt idx="78">
                  <c:v>9.6035414816567766</c:v>
                </c:pt>
                <c:pt idx="79">
                  <c:v>9.1705930186180513</c:v>
                </c:pt>
                <c:pt idx="80">
                  <c:v>8.7466100834906353</c:v>
                </c:pt>
                <c:pt idx="81">
                  <c:v>8.331737380075948</c:v>
                </c:pt>
                <c:pt idx="82">
                  <c:v>7.9262201104904326</c:v>
                </c:pt>
                <c:pt idx="83">
                  <c:v>7.5303797194669553</c:v>
                </c:pt>
                <c:pt idx="84">
                  <c:v>7.1445919510933216</c:v>
                </c:pt>
                <c:pt idx="85">
                  <c:v>6.7692689492965323</c:v>
                </c:pt>
                <c:pt idx="86">
                  <c:v>6.4048351158273169</c:v>
                </c:pt>
                <c:pt idx="87">
                  <c:v>6.0516930234778172</c:v>
                </c:pt>
                <c:pt idx="88">
                  <c:v>5.7102085666479194</c:v>
                </c:pt>
                <c:pt idx="89">
                  <c:v>5.3806948008185129</c:v>
                </c:pt>
                <c:pt idx="90">
                  <c:v>5.0634087940469819</c:v>
                </c:pt>
                <c:pt idx="91">
                  <c:v>4.7585460706956795</c:v>
                </c:pt>
                <c:pt idx="92">
                  <c:v>4.466239348608573</c:v>
                </c:pt>
                <c:pt idx="93">
                  <c:v>4.1865669740402298</c:v>
                </c:pt>
                <c:pt idx="94">
                  <c:v>3.9195409630341556</c:v>
                </c:pt>
                <c:pt idx="95">
                  <c:v>3.6651121577509844</c:v>
                </c:pt>
                <c:pt idx="96">
                  <c:v>3.4231715727706642</c:v>
                </c:pt>
                <c:pt idx="97">
                  <c:v>3.1935530637636886</c:v>
                </c:pt>
                <c:pt idx="98">
                  <c:v>2.9760379958762444</c:v>
                </c:pt>
                <c:pt idx="99">
                  <c:v>2.7703632609880833</c:v>
                </c:pt>
                <c:pt idx="100">
                  <c:v>2.5762171938513703</c:v>
                </c:pt>
                <c:pt idx="101">
                  <c:v>2.3932502605741961</c:v>
                </c:pt>
                <c:pt idx="102">
                  <c:v>2.2210827469374723</c:v>
                </c:pt>
                <c:pt idx="103">
                  <c:v>2.0593129882197214</c:v>
                </c:pt>
                <c:pt idx="104">
                  <c:v>1.9075239747535306</c:v>
                </c:pt>
                <c:pt idx="105">
                  <c:v>1.7652884243643723</c:v>
                </c:pt>
                <c:pt idx="106">
                  <c:v>1.3684078084114237</c:v>
                </c:pt>
                <c:pt idx="107">
                  <c:v>1.0883585518835208</c:v>
                </c:pt>
                <c:pt idx="108">
                  <c:v>0.92021656239090643</c:v>
                </c:pt>
                <c:pt idx="109">
                  <c:v>0.85669111038151269</c:v>
                </c:pt>
                <c:pt idx="110">
                  <c:v>0.88842864209572281</c:v>
                </c:pt>
                <c:pt idx="111">
                  <c:v>1.0051355913690199</c:v>
                </c:pt>
                <c:pt idx="112">
                  <c:v>1.1957889728435032</c:v>
                </c:pt>
                <c:pt idx="113">
                  <c:v>1.4489486172688519</c:v>
                </c:pt>
                <c:pt idx="114">
                  <c:v>1.7529868066943817</c:v>
                </c:pt>
                <c:pt idx="115">
                  <c:v>2.0964126165292507</c:v>
                </c:pt>
                <c:pt idx="116">
                  <c:v>2.4683819791064012</c:v>
                </c:pt>
                <c:pt idx="117">
                  <c:v>2.859501899413929</c:v>
                </c:pt>
                <c:pt idx="118">
                  <c:v>3.2617209079723546</c:v>
                </c:pt>
                <c:pt idx="119">
                  <c:v>3.6672215753348754</c:v>
                </c:pt>
                <c:pt idx="120">
                  <c:v>4.0685953645005357</c:v>
                </c:pt>
                <c:pt idx="121">
                  <c:v>4.4591156231541857</c:v>
                </c:pt>
                <c:pt idx="122">
                  <c:v>4.8329513202648124</c:v>
                </c:pt>
                <c:pt idx="123">
                  <c:v>5.1852474922478793</c:v>
                </c:pt>
                <c:pt idx="124">
                  <c:v>5.5125334717640522</c:v>
                </c:pt>
                <c:pt idx="125">
                  <c:v>5.8125634585597412</c:v>
                </c:pt>
                <c:pt idx="126">
                  <c:v>6.0833491908599298</c:v>
                </c:pt>
                <c:pt idx="127">
                  <c:v>6.3230687436613442</c:v>
                </c:pt>
                <c:pt idx="128">
                  <c:v>6.530197563267218</c:v>
                </c:pt>
                <c:pt idx="129">
                  <c:v>6.7035802793522086</c:v>
                </c:pt>
                <c:pt idx="130">
                  <c:v>6.8425174685190298</c:v>
                </c:pt>
                <c:pt idx="131">
                  <c:v>6.9469436411259506</c:v>
                </c:pt>
                <c:pt idx="132">
                  <c:v>7.0173038132060581</c:v>
                </c:pt>
                <c:pt idx="133">
                  <c:v>7.0541341068101238</c:v>
                </c:pt>
                <c:pt idx="134">
                  <c:v>7.0579906854883747</c:v>
                </c:pt>
                <c:pt idx="135">
                  <c:v>7.0294747904293997</c:v>
                </c:pt>
                <c:pt idx="136">
                  <c:v>6.9692686150528944</c:v>
                </c:pt>
                <c:pt idx="137">
                  <c:v>6.8782257997669989</c:v>
                </c:pt>
                <c:pt idx="138">
                  <c:v>6.7574307336443473</c:v>
                </c:pt>
                <c:pt idx="139">
                  <c:v>6.6080293925510025</c:v>
                </c:pt>
                <c:pt idx="140">
                  <c:v>6.4310942368546131</c:v>
                </c:pt>
                <c:pt idx="141">
                  <c:v>6.2275936194469272</c:v>
                </c:pt>
                <c:pt idx="142">
                  <c:v>5.998387666681821</c:v>
                </c:pt>
                <c:pt idx="143">
                  <c:v>5.7442617478143445</c:v>
                </c:pt>
                <c:pt idx="144">
                  <c:v>5.4659996179453314</c:v>
                </c:pt>
                <c:pt idx="145">
                  <c:v>5.1644821614516774</c:v>
                </c:pt>
                <c:pt idx="146">
                  <c:v>4.8406411610287927</c:v>
                </c:pt>
                <c:pt idx="147">
                  <c:v>4.4953194800038494</c:v>
                </c:pt>
                <c:pt idx="148">
                  <c:v>4.1292721777200727</c:v>
                </c:pt>
                <c:pt idx="149">
                  <c:v>3.7432234858742861</c:v>
                </c:pt>
                <c:pt idx="150">
                  <c:v>3.3378059345416391</c:v>
                </c:pt>
                <c:pt idx="151">
                  <c:v>2.9136330415462988</c:v>
                </c:pt>
                <c:pt idx="152">
                  <c:v>2.4713668023438418</c:v>
                </c:pt>
                <c:pt idx="153">
                  <c:v>2.0117059890426967</c:v>
                </c:pt>
                <c:pt idx="154">
                  <c:v>1.5353379912842877</c:v>
                </c:pt>
                <c:pt idx="155">
                  <c:v>1.0429540874153505</c:v>
                </c:pt>
                <c:pt idx="156">
                  <c:v>0.535259977460786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3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G$2:$G$158</c:f>
              <c:numCache>
                <c:formatCode>General</c:formatCode>
                <c:ptCount val="157"/>
                <c:pt idx="0">
                  <c:v>33</c:v>
                </c:pt>
                <c:pt idx="1">
                  <c:v>34</c:v>
                </c:pt>
                <c:pt idx="2">
                  <c:v>37</c:v>
                </c:pt>
                <c:pt idx="3">
                  <c:v>44</c:v>
                </c:pt>
                <c:pt idx="4">
                  <c:v>37</c:v>
                </c:pt>
                <c:pt idx="5">
                  <c:v>43</c:v>
                </c:pt>
                <c:pt idx="6">
                  <c:v>28</c:v>
                </c:pt>
                <c:pt idx="7">
                  <c:v>31</c:v>
                </c:pt>
                <c:pt idx="8">
                  <c:v>34</c:v>
                </c:pt>
                <c:pt idx="9">
                  <c:v>32</c:v>
                </c:pt>
                <c:pt idx="10">
                  <c:v>33</c:v>
                </c:pt>
                <c:pt idx="11">
                  <c:v>33</c:v>
                </c:pt>
                <c:pt idx="12">
                  <c:v>21</c:v>
                </c:pt>
                <c:pt idx="13">
                  <c:v>18</c:v>
                </c:pt>
                <c:pt idx="14">
                  <c:v>16</c:v>
                </c:pt>
                <c:pt idx="15">
                  <c:v>13</c:v>
                </c:pt>
                <c:pt idx="16">
                  <c:v>22</c:v>
                </c:pt>
                <c:pt idx="17">
                  <c:v>14</c:v>
                </c:pt>
                <c:pt idx="18">
                  <c:v>16</c:v>
                </c:pt>
                <c:pt idx="19">
                  <c:v>17</c:v>
                </c:pt>
                <c:pt idx="20">
                  <c:v>12</c:v>
                </c:pt>
                <c:pt idx="21">
                  <c:v>11</c:v>
                </c:pt>
                <c:pt idx="22">
                  <c:v>12</c:v>
                </c:pt>
                <c:pt idx="23">
                  <c:v>7</c:v>
                </c:pt>
                <c:pt idx="24">
                  <c:v>8</c:v>
                </c:pt>
                <c:pt idx="25">
                  <c:v>10</c:v>
                </c:pt>
                <c:pt idx="26">
                  <c:v>15</c:v>
                </c:pt>
                <c:pt idx="27">
                  <c:v>7</c:v>
                </c:pt>
                <c:pt idx="28">
                  <c:v>6</c:v>
                </c:pt>
                <c:pt idx="29">
                  <c:v>4</c:v>
                </c:pt>
                <c:pt idx="30">
                  <c:v>10</c:v>
                </c:pt>
                <c:pt idx="31">
                  <c:v>6</c:v>
                </c:pt>
                <c:pt idx="32">
                  <c:v>5</c:v>
                </c:pt>
                <c:pt idx="33">
                  <c:v>3</c:v>
                </c:pt>
                <c:pt idx="34">
                  <c:v>7</c:v>
                </c:pt>
                <c:pt idx="35">
                  <c:v>2</c:v>
                </c:pt>
                <c:pt idx="36">
                  <c:v>4</c:v>
                </c:pt>
                <c:pt idx="37">
                  <c:v>4</c:v>
                </c:pt>
                <c:pt idx="38">
                  <c:v>6</c:v>
                </c:pt>
                <c:pt idx="39">
                  <c:v>2</c:v>
                </c:pt>
                <c:pt idx="40">
                  <c:v>6</c:v>
                </c:pt>
                <c:pt idx="41">
                  <c:v>2</c:v>
                </c:pt>
                <c:pt idx="42">
                  <c:v>3</c:v>
                </c:pt>
                <c:pt idx="43">
                  <c:v>3</c:v>
                </c:pt>
                <c:pt idx="44">
                  <c:v>0</c:v>
                </c:pt>
                <c:pt idx="45">
                  <c:v>4</c:v>
                </c:pt>
                <c:pt idx="46">
                  <c:v>1</c:v>
                </c:pt>
                <c:pt idx="47">
                  <c:v>4</c:v>
                </c:pt>
                <c:pt idx="48">
                  <c:v>3</c:v>
                </c:pt>
                <c:pt idx="49">
                  <c:v>0</c:v>
                </c:pt>
                <c:pt idx="50">
                  <c:v>1</c:v>
                </c:pt>
                <c:pt idx="51">
                  <c:v>1</c:v>
                </c:pt>
                <c:pt idx="52">
                  <c:v>2</c:v>
                </c:pt>
                <c:pt idx="53">
                  <c:v>0</c:v>
                </c:pt>
                <c:pt idx="54">
                  <c:v>3</c:v>
                </c:pt>
                <c:pt idx="55">
                  <c:v>1</c:v>
                </c:pt>
                <c:pt idx="56">
                  <c:v>2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1</c:v>
                </c:pt>
                <c:pt idx="61">
                  <c:v>1</c:v>
                </c:pt>
                <c:pt idx="62">
                  <c:v>2</c:v>
                </c:pt>
                <c:pt idx="63">
                  <c:v>0</c:v>
                </c:pt>
                <c:pt idx="64">
                  <c:v>2</c:v>
                </c:pt>
                <c:pt idx="65">
                  <c:v>0</c:v>
                </c:pt>
                <c:pt idx="66">
                  <c:v>0</c:v>
                </c:pt>
                <c:pt idx="67">
                  <c:v>1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2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2</c:v>
                </c:pt>
                <c:pt idx="77">
                  <c:v>0</c:v>
                </c:pt>
                <c:pt idx="78">
                  <c:v>1</c:v>
                </c:pt>
                <c:pt idx="79">
                  <c:v>2</c:v>
                </c:pt>
                <c:pt idx="80">
                  <c:v>0</c:v>
                </c:pt>
                <c:pt idx="81">
                  <c:v>1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2</c:v>
                </c:pt>
                <c:pt idx="92">
                  <c:v>2</c:v>
                </c:pt>
                <c:pt idx="93">
                  <c:v>1</c:v>
                </c:pt>
                <c:pt idx="94">
                  <c:v>0</c:v>
                </c:pt>
                <c:pt idx="95">
                  <c:v>0</c:v>
                </c:pt>
                <c:pt idx="96">
                  <c:v>1</c:v>
                </c:pt>
                <c:pt idx="97">
                  <c:v>2</c:v>
                </c:pt>
                <c:pt idx="98">
                  <c:v>0</c:v>
                </c:pt>
                <c:pt idx="99">
                  <c:v>0</c:v>
                </c:pt>
                <c:pt idx="100">
                  <c:v>1</c:v>
                </c:pt>
                <c:pt idx="101">
                  <c:v>0</c:v>
                </c:pt>
                <c:pt idx="102">
                  <c:v>1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3</c:v>
                </c:pt>
                <c:pt idx="107">
                  <c:v>3</c:v>
                </c:pt>
                <c:pt idx="108">
                  <c:v>1</c:v>
                </c:pt>
                <c:pt idx="109">
                  <c:v>2</c:v>
                </c:pt>
                <c:pt idx="110">
                  <c:v>1</c:v>
                </c:pt>
                <c:pt idx="111">
                  <c:v>1</c:v>
                </c:pt>
                <c:pt idx="112">
                  <c:v>0</c:v>
                </c:pt>
                <c:pt idx="113">
                  <c:v>0</c:v>
                </c:pt>
                <c:pt idx="114">
                  <c:v>1</c:v>
                </c:pt>
                <c:pt idx="115">
                  <c:v>1</c:v>
                </c:pt>
                <c:pt idx="116">
                  <c:v>2</c:v>
                </c:pt>
                <c:pt idx="117">
                  <c:v>0</c:v>
                </c:pt>
                <c:pt idx="118">
                  <c:v>1</c:v>
                </c:pt>
                <c:pt idx="119">
                  <c:v>2</c:v>
                </c:pt>
                <c:pt idx="120">
                  <c:v>1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2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1</c:v>
                </c:pt>
                <c:pt idx="129">
                  <c:v>2</c:v>
                </c:pt>
                <c:pt idx="130">
                  <c:v>1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2</c:v>
                </c:pt>
                <c:pt idx="135">
                  <c:v>0</c:v>
                </c:pt>
                <c:pt idx="136">
                  <c:v>3</c:v>
                </c:pt>
                <c:pt idx="137">
                  <c:v>3</c:v>
                </c:pt>
                <c:pt idx="138">
                  <c:v>0</c:v>
                </c:pt>
                <c:pt idx="139">
                  <c:v>2</c:v>
                </c:pt>
                <c:pt idx="140">
                  <c:v>3</c:v>
                </c:pt>
                <c:pt idx="141">
                  <c:v>2</c:v>
                </c:pt>
                <c:pt idx="142">
                  <c:v>4</c:v>
                </c:pt>
                <c:pt idx="143">
                  <c:v>2</c:v>
                </c:pt>
                <c:pt idx="144">
                  <c:v>2</c:v>
                </c:pt>
                <c:pt idx="145">
                  <c:v>3</c:v>
                </c:pt>
                <c:pt idx="146">
                  <c:v>0</c:v>
                </c:pt>
                <c:pt idx="14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C$2:$C$158</c:f>
              <c:numCache>
                <c:formatCode>General</c:formatCode>
                <c:ptCount val="157"/>
                <c:pt idx="0">
                  <c:v>49.318786568316646</c:v>
                </c:pt>
                <c:pt idx="1">
                  <c:v>46.958063281270164</c:v>
                </c:pt>
                <c:pt idx="2">
                  <c:v>44.474512988623417</c:v>
                </c:pt>
                <c:pt idx="3">
                  <c:v>41.888797843026389</c:v>
                </c:pt>
                <c:pt idx="4">
                  <c:v>39.633035064434182</c:v>
                </c:pt>
                <c:pt idx="5">
                  <c:v>37.458018330441661</c:v>
                </c:pt>
                <c:pt idx="6">
                  <c:v>35.061264748722913</c:v>
                </c:pt>
                <c:pt idx="7">
                  <c:v>32.863901664466482</c:v>
                </c:pt>
                <c:pt idx="8">
                  <c:v>30.908100173965558</c:v>
                </c:pt>
                <c:pt idx="9">
                  <c:v>29.027855006105661</c:v>
                </c:pt>
                <c:pt idx="10">
                  <c:v>27.035397909906244</c:v>
                </c:pt>
                <c:pt idx="11">
                  <c:v>25.373324583982015</c:v>
                </c:pt>
                <c:pt idx="12">
                  <c:v>23.761741062369786</c:v>
                </c:pt>
                <c:pt idx="13">
                  <c:v>22.171682691283898</c:v>
                </c:pt>
                <c:pt idx="14">
                  <c:v>20.6962537762371</c:v>
                </c:pt>
                <c:pt idx="15">
                  <c:v>19.342734347305484</c:v>
                </c:pt>
                <c:pt idx="16">
                  <c:v>18.06540026712343</c:v>
                </c:pt>
                <c:pt idx="17">
                  <c:v>16.846234233828692</c:v>
                </c:pt>
                <c:pt idx="18">
                  <c:v>15.736719255929117</c:v>
                </c:pt>
                <c:pt idx="19">
                  <c:v>14.71217476771381</c:v>
                </c:pt>
                <c:pt idx="20">
                  <c:v>13.650077624872749</c:v>
                </c:pt>
                <c:pt idx="21">
                  <c:v>12.722661478362051</c:v>
                </c:pt>
                <c:pt idx="22">
                  <c:v>11.883578907854337</c:v>
                </c:pt>
                <c:pt idx="23">
                  <c:v>11.112540951545585</c:v>
                </c:pt>
                <c:pt idx="24">
                  <c:v>10.350340525913509</c:v>
                </c:pt>
                <c:pt idx="25">
                  <c:v>9.6635352971361765</c:v>
                </c:pt>
                <c:pt idx="26">
                  <c:v>9.0578706058600655</c:v>
                </c:pt>
                <c:pt idx="27">
                  <c:v>8.4554448801344204</c:v>
                </c:pt>
                <c:pt idx="28">
                  <c:v>7.8839131555764421</c:v>
                </c:pt>
                <c:pt idx="29">
                  <c:v>7.3746400705727941</c:v>
                </c:pt>
                <c:pt idx="30">
                  <c:v>6.8738846311987301</c:v>
                </c:pt>
                <c:pt idx="31">
                  <c:v>6.4099155743367122</c:v>
                </c:pt>
                <c:pt idx="32">
                  <c:v>6.0010915210795925</c:v>
                </c:pt>
                <c:pt idx="33">
                  <c:v>5.6111146951363615</c:v>
                </c:pt>
                <c:pt idx="34">
                  <c:v>5.2263956479787561</c:v>
                </c:pt>
                <c:pt idx="35">
                  <c:v>4.9019987266076201</c:v>
                </c:pt>
                <c:pt idx="36">
                  <c:v>4.5816241913239253</c:v>
                </c:pt>
                <c:pt idx="37">
                  <c:v>4.2856318949928802</c:v>
                </c:pt>
                <c:pt idx="38">
                  <c:v>4.009587973045841</c:v>
                </c:pt>
                <c:pt idx="39">
                  <c:v>3.7586682240971205</c:v>
                </c:pt>
                <c:pt idx="40">
                  <c:v>3.520671785103775</c:v>
                </c:pt>
                <c:pt idx="41">
                  <c:v>3.3021137439521859</c:v>
                </c:pt>
                <c:pt idx="42">
                  <c:v>3.0918511838594775</c:v>
                </c:pt>
                <c:pt idx="43">
                  <c:v>2.9078952895795931</c:v>
                </c:pt>
                <c:pt idx="44">
                  <c:v>2.7216043811791257</c:v>
                </c:pt>
                <c:pt idx="45">
                  <c:v>2.5646838926238136</c:v>
                </c:pt>
                <c:pt idx="46">
                  <c:v>2.4175485372047221</c:v>
                </c:pt>
                <c:pt idx="47">
                  <c:v>2.284712968436144</c:v>
                </c:pt>
                <c:pt idx="48">
                  <c:v>2.1625074992566899</c:v>
                </c:pt>
                <c:pt idx="49">
                  <c:v>2.0459664494683905</c:v>
                </c:pt>
                <c:pt idx="50">
                  <c:v>1.9367485482787878</c:v>
                </c:pt>
                <c:pt idx="51">
                  <c:v>1.8328908506479686</c:v>
                </c:pt>
                <c:pt idx="52">
                  <c:v>1.7441458657649664</c:v>
                </c:pt>
                <c:pt idx="53">
                  <c:v>1.6553952785799297</c:v>
                </c:pt>
                <c:pt idx="54">
                  <c:v>1.5790520723033958</c:v>
                </c:pt>
                <c:pt idx="55">
                  <c:v>1.5118166199150549</c:v>
                </c:pt>
                <c:pt idx="56">
                  <c:v>1.4438955295310409</c:v>
                </c:pt>
                <c:pt idx="57">
                  <c:v>1.3797842006045544</c:v>
                </c:pt>
                <c:pt idx="58">
                  <c:v>1.321868461932229</c:v>
                </c:pt>
                <c:pt idx="59">
                  <c:v>1.2631623769532789</c:v>
                </c:pt>
                <c:pt idx="60">
                  <c:v>1.210479266395782</c:v>
                </c:pt>
                <c:pt idx="61">
                  <c:v>1.1615407608333779</c:v>
                </c:pt>
                <c:pt idx="62">
                  <c:v>1.1155121596458273</c:v>
                </c:pt>
                <c:pt idx="63">
                  <c:v>1.0718272488188796</c:v>
                </c:pt>
                <c:pt idx="64">
                  <c:v>1.0302800853561669</c:v>
                </c:pt>
                <c:pt idx="65">
                  <c:v>0.99067508439895557</c:v>
                </c:pt>
                <c:pt idx="66">
                  <c:v>0.9527866837950959</c:v>
                </c:pt>
                <c:pt idx="67">
                  <c:v>0.91648104867132729</c:v>
                </c:pt>
                <c:pt idx="68">
                  <c:v>0.88164194913396443</c:v>
                </c:pt>
                <c:pt idx="69">
                  <c:v>0.84818317607215876</c:v>
                </c:pt>
                <c:pt idx="70">
                  <c:v>0.81602533948546019</c:v>
                </c:pt>
                <c:pt idx="71">
                  <c:v>0.78509977642791096</c:v>
                </c:pt>
                <c:pt idx="72">
                  <c:v>0.75533201761589286</c:v>
                </c:pt>
                <c:pt idx="73">
                  <c:v>0.72660752089588287</c:v>
                </c:pt>
                <c:pt idx="74">
                  <c:v>0.69882533623293186</c:v>
                </c:pt>
                <c:pt idx="75">
                  <c:v>0.67188720453542994</c:v>
                </c:pt>
                <c:pt idx="76">
                  <c:v>0.64571089098038181</c:v>
                </c:pt>
                <c:pt idx="77">
                  <c:v>0.62020154801973293</c:v>
                </c:pt>
                <c:pt idx="78">
                  <c:v>0.59528663529355264</c:v>
                </c:pt>
                <c:pt idx="79">
                  <c:v>0.57091230871441723</c:v>
                </c:pt>
                <c:pt idx="80">
                  <c:v>0.54703470139013799</c:v>
                </c:pt>
                <c:pt idx="81">
                  <c:v>0.52362153215493312</c:v>
                </c:pt>
                <c:pt idx="82">
                  <c:v>0.50066384712007916</c:v>
                </c:pt>
                <c:pt idx="83">
                  <c:v>0.47814827783506819</c:v>
                </c:pt>
                <c:pt idx="84">
                  <c:v>0.45608031333843946</c:v>
                </c:pt>
                <c:pt idx="85">
                  <c:v>0.43446920408985995</c:v>
                </c:pt>
                <c:pt idx="86">
                  <c:v>0.41332607873249694</c:v>
                </c:pt>
                <c:pt idx="87">
                  <c:v>0.39267323129495213</c:v>
                </c:pt>
                <c:pt idx="88">
                  <c:v>0.37253205336335143</c:v>
                </c:pt>
                <c:pt idx="89">
                  <c:v>0.35292481812081761</c:v>
                </c:pt>
                <c:pt idx="90">
                  <c:v>0.3338730355832018</c:v>
                </c:pt>
                <c:pt idx="91">
                  <c:v>0.31540064885473612</c:v>
                </c:pt>
                <c:pt idx="92">
                  <c:v>0.29752799162453308</c:v>
                </c:pt>
                <c:pt idx="93">
                  <c:v>0.28026692804830955</c:v>
                </c:pt>
                <c:pt idx="94">
                  <c:v>0.26363494469785959</c:v>
                </c:pt>
                <c:pt idx="95">
                  <c:v>0.24764754056648178</c:v>
                </c:pt>
                <c:pt idx="96">
                  <c:v>0.23231394122449758</c:v>
                </c:pt>
                <c:pt idx="97">
                  <c:v>0.21763926568494382</c:v>
                </c:pt>
                <c:pt idx="98">
                  <c:v>0.20362628682580142</c:v>
                </c:pt>
                <c:pt idx="99">
                  <c:v>0.19027400312989351</c:v>
                </c:pt>
                <c:pt idx="100">
                  <c:v>0.17757950996146643</c:v>
                </c:pt>
                <c:pt idx="101">
                  <c:v>0.16553485033411816</c:v>
                </c:pt>
                <c:pt idx="102">
                  <c:v>0.15412872573324451</c:v>
                </c:pt>
                <c:pt idx="103">
                  <c:v>0.14334689920702109</c:v>
                </c:pt>
                <c:pt idx="104">
                  <c:v>0.13317346302715921</c:v>
                </c:pt>
                <c:pt idx="105">
                  <c:v>0.12359009246268086</c:v>
                </c:pt>
                <c:pt idx="106">
                  <c:v>0.1396376405581376</c:v>
                </c:pt>
                <c:pt idx="107">
                  <c:v>0.16725671399607028</c:v>
                </c:pt>
                <c:pt idx="108">
                  <c:v>0.20549416616478572</c:v>
                </c:pt>
                <c:pt idx="109">
                  <c:v>0.25334843834923165</c:v>
                </c:pt>
                <c:pt idx="110">
                  <c:v>0.30986737642298395</c:v>
                </c:pt>
                <c:pt idx="111">
                  <c:v>0.37481863694337164</c:v>
                </c:pt>
                <c:pt idx="112">
                  <c:v>0.44803804632426475</c:v>
                </c:pt>
                <c:pt idx="113">
                  <c:v>0.52915246140426153</c:v>
                </c:pt>
                <c:pt idx="114">
                  <c:v>0.61749795588050072</c:v>
                </c:pt>
                <c:pt idx="115">
                  <c:v>0.71229302548506501</c:v>
                </c:pt>
                <c:pt idx="116">
                  <c:v>0.81262916946287445</c:v>
                </c:pt>
                <c:pt idx="117">
                  <c:v>0.91757093528363964</c:v>
                </c:pt>
                <c:pt idx="118">
                  <c:v>1.0261006377417667</c:v>
                </c:pt>
                <c:pt idx="119">
                  <c:v>1.1372817933445154</c:v>
                </c:pt>
                <c:pt idx="120">
                  <c:v>1.2502446792479291</c:v>
                </c:pt>
                <c:pt idx="121">
                  <c:v>1.3641594780602511</c:v>
                </c:pt>
                <c:pt idx="122">
                  <c:v>1.478198684197827</c:v>
                </c:pt>
                <c:pt idx="123">
                  <c:v>1.5916863504017875</c:v>
                </c:pt>
                <c:pt idx="124">
                  <c:v>1.7040679812060768</c:v>
                </c:pt>
                <c:pt idx="125">
                  <c:v>1.8147858089306712</c:v>
                </c:pt>
                <c:pt idx="126">
                  <c:v>1.9234819707067186</c:v>
                </c:pt>
                <c:pt idx="127">
                  <c:v>2.0298613483440384</c:v>
                </c:pt>
                <c:pt idx="128">
                  <c:v>2.1336888290395501</c:v>
                </c:pt>
                <c:pt idx="129">
                  <c:v>2.2347862128096128</c:v>
                </c:pt>
                <c:pt idx="130">
                  <c:v>2.3330184059698715</c:v>
                </c:pt>
                <c:pt idx="131">
                  <c:v>2.4283623273372212</c:v>
                </c:pt>
                <c:pt idx="132">
                  <c:v>2.5207536932227144</c:v>
                </c:pt>
                <c:pt idx="133">
                  <c:v>2.6101982491594606</c:v>
                </c:pt>
                <c:pt idx="134">
                  <c:v>2.6967399587332141</c:v>
                </c:pt>
                <c:pt idx="135">
                  <c:v>2.7804041750607236</c:v>
                </c:pt>
                <c:pt idx="136">
                  <c:v>2.8612772789620937</c:v>
                </c:pt>
                <c:pt idx="137">
                  <c:v>2.9394745276798497</c:v>
                </c:pt>
                <c:pt idx="138">
                  <c:v>3.0151248597237812</c:v>
                </c:pt>
                <c:pt idx="139">
                  <c:v>3.0883433658975079</c:v>
                </c:pt>
                <c:pt idx="140">
                  <c:v>3.1592628841260133</c:v>
                </c:pt>
                <c:pt idx="141">
                  <c:v>3.2280429125731285</c:v>
                </c:pt>
                <c:pt idx="142">
                  <c:v>3.2948369251980365</c:v>
                </c:pt>
                <c:pt idx="143">
                  <c:v>3.359764886019895</c:v>
                </c:pt>
                <c:pt idx="144">
                  <c:v>3.4229413341275201</c:v>
                </c:pt>
                <c:pt idx="145">
                  <c:v>3.4844816537385697</c:v>
                </c:pt>
                <c:pt idx="146">
                  <c:v>3.5444813212189361</c:v>
                </c:pt>
                <c:pt idx="147">
                  <c:v>3.6030380909895818</c:v>
                </c:pt>
                <c:pt idx="148">
                  <c:v>3.6602455643674636</c:v>
                </c:pt>
                <c:pt idx="149">
                  <c:v>3.7161801890802328</c:v>
                </c:pt>
                <c:pt idx="150">
                  <c:v>3.7709088533835864</c:v>
                </c:pt>
                <c:pt idx="151">
                  <c:v>3.8245081481907084</c:v>
                </c:pt>
                <c:pt idx="152">
                  <c:v>3.8770344253256139</c:v>
                </c:pt>
                <c:pt idx="153">
                  <c:v>3.9285256972163642</c:v>
                </c:pt>
                <c:pt idx="154">
                  <c:v>3.9790158738182075</c:v>
                </c:pt>
                <c:pt idx="155">
                  <c:v>4.0285280707750344</c:v>
                </c:pt>
                <c:pt idx="156">
                  <c:v>4.07708543744353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1-46DE-A093-6A704C448CFB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D$2:$D$158</c:f>
              <c:numCache>
                <c:formatCode>General</c:formatCode>
                <c:ptCount val="157"/>
                <c:pt idx="0">
                  <c:v>49.318786568316646</c:v>
                </c:pt>
                <c:pt idx="1">
                  <c:v>46.958063281270164</c:v>
                </c:pt>
                <c:pt idx="2">
                  <c:v>44.474512988623417</c:v>
                </c:pt>
                <c:pt idx="3">
                  <c:v>41.888797843026389</c:v>
                </c:pt>
                <c:pt idx="4">
                  <c:v>39.633035064434182</c:v>
                </c:pt>
                <c:pt idx="5">
                  <c:v>37.458018330441661</c:v>
                </c:pt>
                <c:pt idx="6">
                  <c:v>35.061264748722913</c:v>
                </c:pt>
                <c:pt idx="7">
                  <c:v>32.863901664466482</c:v>
                </c:pt>
                <c:pt idx="8">
                  <c:v>30.908100173965558</c:v>
                </c:pt>
                <c:pt idx="9">
                  <c:v>29.027855006105661</c:v>
                </c:pt>
                <c:pt idx="10">
                  <c:v>27.035397909906244</c:v>
                </c:pt>
                <c:pt idx="11">
                  <c:v>25.373324583982015</c:v>
                </c:pt>
                <c:pt idx="12">
                  <c:v>23.761741062369786</c:v>
                </c:pt>
                <c:pt idx="13">
                  <c:v>22.171682691283898</c:v>
                </c:pt>
                <c:pt idx="14">
                  <c:v>20.6962537762371</c:v>
                </c:pt>
                <c:pt idx="15">
                  <c:v>19.342734347305484</c:v>
                </c:pt>
                <c:pt idx="16">
                  <c:v>18.06540026712343</c:v>
                </c:pt>
                <c:pt idx="17">
                  <c:v>16.846234233828692</c:v>
                </c:pt>
                <c:pt idx="18">
                  <c:v>15.736719255929117</c:v>
                </c:pt>
                <c:pt idx="19">
                  <c:v>14.71217476771381</c:v>
                </c:pt>
                <c:pt idx="20">
                  <c:v>13.650077624872749</c:v>
                </c:pt>
                <c:pt idx="21">
                  <c:v>12.722661478362051</c:v>
                </c:pt>
                <c:pt idx="22">
                  <c:v>11.883578907854337</c:v>
                </c:pt>
                <c:pt idx="23">
                  <c:v>11.112540951545585</c:v>
                </c:pt>
                <c:pt idx="24">
                  <c:v>10.350340525913509</c:v>
                </c:pt>
                <c:pt idx="25">
                  <c:v>9.6635352971361765</c:v>
                </c:pt>
                <c:pt idx="26">
                  <c:v>9.0578706058600655</c:v>
                </c:pt>
                <c:pt idx="27">
                  <c:v>8.4554448801344204</c:v>
                </c:pt>
                <c:pt idx="28">
                  <c:v>7.8839131555764421</c:v>
                </c:pt>
                <c:pt idx="29">
                  <c:v>7.3746400705727941</c:v>
                </c:pt>
                <c:pt idx="30">
                  <c:v>6.8738846311987301</c:v>
                </c:pt>
                <c:pt idx="31">
                  <c:v>6.4099155743367122</c:v>
                </c:pt>
                <c:pt idx="32">
                  <c:v>6.0010915210795925</c:v>
                </c:pt>
                <c:pt idx="33">
                  <c:v>5.6111146951363615</c:v>
                </c:pt>
                <c:pt idx="34">
                  <c:v>5.2263956479787561</c:v>
                </c:pt>
                <c:pt idx="35">
                  <c:v>4.9019987266076201</c:v>
                </c:pt>
                <c:pt idx="36">
                  <c:v>4.5816241913239253</c:v>
                </c:pt>
                <c:pt idx="37">
                  <c:v>4.2856318949928802</c:v>
                </c:pt>
                <c:pt idx="38">
                  <c:v>4.009587973045841</c:v>
                </c:pt>
                <c:pt idx="39">
                  <c:v>3.7586682240971205</c:v>
                </c:pt>
                <c:pt idx="40">
                  <c:v>3.520671785103775</c:v>
                </c:pt>
                <c:pt idx="41">
                  <c:v>3.3021137439521859</c:v>
                </c:pt>
                <c:pt idx="42">
                  <c:v>3.0918511838594775</c:v>
                </c:pt>
                <c:pt idx="43">
                  <c:v>2.9078952895795931</c:v>
                </c:pt>
                <c:pt idx="44">
                  <c:v>2.7216043811791257</c:v>
                </c:pt>
                <c:pt idx="45">
                  <c:v>2.5646838926238136</c:v>
                </c:pt>
                <c:pt idx="46">
                  <c:v>2.4175485372047221</c:v>
                </c:pt>
                <c:pt idx="47">
                  <c:v>2.284712968436144</c:v>
                </c:pt>
                <c:pt idx="48">
                  <c:v>2.1625074992566899</c:v>
                </c:pt>
                <c:pt idx="49">
                  <c:v>2.0459664494683905</c:v>
                </c:pt>
                <c:pt idx="50">
                  <c:v>1.9367485482787878</c:v>
                </c:pt>
                <c:pt idx="51">
                  <c:v>1.8328908506479686</c:v>
                </c:pt>
                <c:pt idx="52">
                  <c:v>1.7441458657649664</c:v>
                </c:pt>
                <c:pt idx="53">
                  <c:v>1.6553952785799297</c:v>
                </c:pt>
                <c:pt idx="54">
                  <c:v>1.5790520723033958</c:v>
                </c:pt>
                <c:pt idx="55">
                  <c:v>1.5118166199150549</c:v>
                </c:pt>
                <c:pt idx="56">
                  <c:v>1.4438955295310409</c:v>
                </c:pt>
                <c:pt idx="57">
                  <c:v>1.3797842006045544</c:v>
                </c:pt>
                <c:pt idx="58">
                  <c:v>1.321868461932229</c:v>
                </c:pt>
                <c:pt idx="59">
                  <c:v>1.2631623769532789</c:v>
                </c:pt>
                <c:pt idx="60">
                  <c:v>1.210479266395782</c:v>
                </c:pt>
                <c:pt idx="61">
                  <c:v>1.1615407608333779</c:v>
                </c:pt>
                <c:pt idx="62">
                  <c:v>1.1155121596458273</c:v>
                </c:pt>
                <c:pt idx="63">
                  <c:v>1.0718272488188796</c:v>
                </c:pt>
                <c:pt idx="64">
                  <c:v>1.0302800853561669</c:v>
                </c:pt>
                <c:pt idx="65">
                  <c:v>0.99067508439895557</c:v>
                </c:pt>
                <c:pt idx="66">
                  <c:v>0.9527866837950959</c:v>
                </c:pt>
                <c:pt idx="67">
                  <c:v>0.91648104867132729</c:v>
                </c:pt>
                <c:pt idx="68">
                  <c:v>0.88164194913396443</c:v>
                </c:pt>
                <c:pt idx="69">
                  <c:v>0.84818317607215876</c:v>
                </c:pt>
                <c:pt idx="70">
                  <c:v>0.81602533948546019</c:v>
                </c:pt>
                <c:pt idx="71">
                  <c:v>0.78509977642791096</c:v>
                </c:pt>
                <c:pt idx="72">
                  <c:v>0.75533201761589286</c:v>
                </c:pt>
                <c:pt idx="73">
                  <c:v>0.72660752089588287</c:v>
                </c:pt>
                <c:pt idx="74">
                  <c:v>0.69882533623293186</c:v>
                </c:pt>
                <c:pt idx="75">
                  <c:v>0.67188720453542994</c:v>
                </c:pt>
                <c:pt idx="76">
                  <c:v>0.64571089098038181</c:v>
                </c:pt>
                <c:pt idx="77">
                  <c:v>0.62020154801973293</c:v>
                </c:pt>
                <c:pt idx="78">
                  <c:v>0.59528663529355264</c:v>
                </c:pt>
                <c:pt idx="79">
                  <c:v>0.57091230871441723</c:v>
                </c:pt>
                <c:pt idx="80">
                  <c:v>0.54703470139013799</c:v>
                </c:pt>
                <c:pt idx="81">
                  <c:v>0.52362153215493312</c:v>
                </c:pt>
                <c:pt idx="82">
                  <c:v>0.50066384712007916</c:v>
                </c:pt>
                <c:pt idx="83">
                  <c:v>0.47814827783506819</c:v>
                </c:pt>
                <c:pt idx="84">
                  <c:v>0.45608031333843946</c:v>
                </c:pt>
                <c:pt idx="85">
                  <c:v>0.43446920408985995</c:v>
                </c:pt>
                <c:pt idx="86">
                  <c:v>0.41332607873249694</c:v>
                </c:pt>
                <c:pt idx="87">
                  <c:v>0.39267323129495213</c:v>
                </c:pt>
                <c:pt idx="88">
                  <c:v>0.37253205336335143</c:v>
                </c:pt>
                <c:pt idx="89">
                  <c:v>0.35292481812081761</c:v>
                </c:pt>
                <c:pt idx="90">
                  <c:v>0.3338730355832018</c:v>
                </c:pt>
                <c:pt idx="91">
                  <c:v>0.31540064885473612</c:v>
                </c:pt>
                <c:pt idx="92">
                  <c:v>0.29752799162453308</c:v>
                </c:pt>
                <c:pt idx="93">
                  <c:v>0.28026692804830955</c:v>
                </c:pt>
                <c:pt idx="94">
                  <c:v>0.26363494469785959</c:v>
                </c:pt>
                <c:pt idx="95">
                  <c:v>0.24764754056648178</c:v>
                </c:pt>
                <c:pt idx="96">
                  <c:v>0.23231394122449758</c:v>
                </c:pt>
                <c:pt idx="97">
                  <c:v>0.21763926568494382</c:v>
                </c:pt>
                <c:pt idx="98">
                  <c:v>0.20362628682580142</c:v>
                </c:pt>
                <c:pt idx="99">
                  <c:v>0.19027400312989351</c:v>
                </c:pt>
                <c:pt idx="100">
                  <c:v>0.17757950996146643</c:v>
                </c:pt>
                <c:pt idx="101">
                  <c:v>0.16553485033411816</c:v>
                </c:pt>
                <c:pt idx="102">
                  <c:v>0.15412872573324451</c:v>
                </c:pt>
                <c:pt idx="103">
                  <c:v>0.14334689920702109</c:v>
                </c:pt>
                <c:pt idx="104">
                  <c:v>0.13317346302715921</c:v>
                </c:pt>
                <c:pt idx="105">
                  <c:v>0.12359009246268086</c:v>
                </c:pt>
                <c:pt idx="106">
                  <c:v>0.15453918427261265</c:v>
                </c:pt>
                <c:pt idx="107">
                  <c:v>0.20123475293029264</c:v>
                </c:pt>
                <c:pt idx="108">
                  <c:v>0.26315717064132776</c:v>
                </c:pt>
                <c:pt idx="109">
                  <c:v>0.33961904316904395</c:v>
                </c:pt>
                <c:pt idx="110">
                  <c:v>0.42996214844687602</c:v>
                </c:pt>
                <c:pt idx="111">
                  <c:v>0.53460395943379946</c:v>
                </c:pt>
                <c:pt idx="112">
                  <c:v>0.65421059724055697</c:v>
                </c:pt>
                <c:pt idx="113">
                  <c:v>0.78897515378333827</c:v>
                </c:pt>
                <c:pt idx="114">
                  <c:v>0.93873151209340699</c:v>
                </c:pt>
                <c:pt idx="115">
                  <c:v>1.1030634667877544</c:v>
                </c:pt>
                <c:pt idx="116">
                  <c:v>1.2813021495250068</c:v>
                </c:pt>
                <c:pt idx="117">
                  <c:v>1.4727522366961905</c:v>
                </c:pt>
                <c:pt idx="118">
                  <c:v>1.6766284980258312</c:v>
                </c:pt>
                <c:pt idx="119">
                  <c:v>1.8921091711870197</c:v>
                </c:pt>
                <c:pt idx="120">
                  <c:v>2.118460065742549</c:v>
                </c:pt>
                <c:pt idx="121">
                  <c:v>2.3550076093271084</c:v>
                </c:pt>
                <c:pt idx="122">
                  <c:v>2.6010901096212358</c:v>
                </c:pt>
                <c:pt idx="123">
                  <c:v>2.856158652702852</c:v>
                </c:pt>
                <c:pt idx="124">
                  <c:v>3.1198566209968011</c:v>
                </c:pt>
                <c:pt idx="125">
                  <c:v>3.3918292912937487</c:v>
                </c:pt>
                <c:pt idx="126">
                  <c:v>3.6719488071943536</c:v>
                </c:pt>
                <c:pt idx="127">
                  <c:v>3.9601969296979886</c:v>
                </c:pt>
                <c:pt idx="128">
                  <c:v>4.2566497797416138</c:v>
                </c:pt>
                <c:pt idx="129">
                  <c:v>4.5614628036993947</c:v>
                </c:pt>
                <c:pt idx="130">
                  <c:v>4.8748768205898205</c:v>
                </c:pt>
                <c:pt idx="131">
                  <c:v>5.1972719144660147</c:v>
                </c:pt>
                <c:pt idx="132">
                  <c:v>5.5290285139795694</c:v>
                </c:pt>
                <c:pt idx="133">
                  <c:v>5.8706065880181075</c:v>
                </c:pt>
                <c:pt idx="134">
                  <c:v>6.2225526797637034</c:v>
                </c:pt>
                <c:pt idx="135">
                  <c:v>6.5854067454138958</c:v>
                </c:pt>
                <c:pt idx="136">
                  <c:v>6.959805979309607</c:v>
                </c:pt>
                <c:pt idx="137">
                  <c:v>7.3464540006654389</c:v>
                </c:pt>
                <c:pt idx="138">
                  <c:v>7.7460900813347529</c:v>
                </c:pt>
                <c:pt idx="139">
                  <c:v>8.1594685935855438</c:v>
                </c:pt>
                <c:pt idx="140">
                  <c:v>8.5873810934257584</c:v>
                </c:pt>
                <c:pt idx="141">
                  <c:v>9.0306763895873381</c:v>
                </c:pt>
                <c:pt idx="142">
                  <c:v>9.490240669970003</c:v>
                </c:pt>
                <c:pt idx="143">
                  <c:v>9.9669392476784662</c:v>
                </c:pt>
                <c:pt idx="144">
                  <c:v>10.461659404045076</c:v>
                </c:pt>
                <c:pt idx="145">
                  <c:v>10.975319416929265</c:v>
                </c:pt>
                <c:pt idx="146">
                  <c:v>11.508849013192584</c:v>
                </c:pt>
                <c:pt idx="147">
                  <c:v>12.0632087689327</c:v>
                </c:pt>
                <c:pt idx="148">
                  <c:v>12.63939349307759</c:v>
                </c:pt>
                <c:pt idx="149">
                  <c:v>13.238415940965885</c:v>
                </c:pt>
                <c:pt idx="150">
                  <c:v>13.861311931388627</c:v>
                </c:pt>
                <c:pt idx="151">
                  <c:v>14.509165671886775</c:v>
                </c:pt>
                <c:pt idx="152">
                  <c:v>15.183083769903819</c:v>
                </c:pt>
                <c:pt idx="153">
                  <c:v>15.884191087002753</c:v>
                </c:pt>
                <c:pt idx="154">
                  <c:v>16.613646880358367</c:v>
                </c:pt>
                <c:pt idx="155">
                  <c:v>17.372638989990598</c:v>
                </c:pt>
                <c:pt idx="156">
                  <c:v>18.162401122965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1-46DE-A093-6A704C448CFB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F$2:$F$158</c:f>
              <c:numCache>
                <c:formatCode>General</c:formatCode>
                <c:ptCount val="157"/>
                <c:pt idx="0">
                  <c:v>49.318786568316646</c:v>
                </c:pt>
                <c:pt idx="1">
                  <c:v>46.958063281270164</c:v>
                </c:pt>
                <c:pt idx="2">
                  <c:v>44.474512988623417</c:v>
                </c:pt>
                <c:pt idx="3">
                  <c:v>41.888797843026389</c:v>
                </c:pt>
                <c:pt idx="4">
                  <c:v>39.633035064434182</c:v>
                </c:pt>
                <c:pt idx="5">
                  <c:v>37.458018330441661</c:v>
                </c:pt>
                <c:pt idx="6">
                  <c:v>35.061264748722913</c:v>
                </c:pt>
                <c:pt idx="7">
                  <c:v>32.863901664466482</c:v>
                </c:pt>
                <c:pt idx="8">
                  <c:v>30.908100173965558</c:v>
                </c:pt>
                <c:pt idx="9">
                  <c:v>29.027855006105661</c:v>
                </c:pt>
                <c:pt idx="10">
                  <c:v>27.035397909906244</c:v>
                </c:pt>
                <c:pt idx="11">
                  <c:v>25.373324583982015</c:v>
                </c:pt>
                <c:pt idx="12">
                  <c:v>23.761741062369786</c:v>
                </c:pt>
                <c:pt idx="13">
                  <c:v>22.171682691283898</c:v>
                </c:pt>
                <c:pt idx="14">
                  <c:v>20.6962537762371</c:v>
                </c:pt>
                <c:pt idx="15">
                  <c:v>19.342734347305484</c:v>
                </c:pt>
                <c:pt idx="16">
                  <c:v>18.06540026712343</c:v>
                </c:pt>
                <c:pt idx="17">
                  <c:v>16.846234233828692</c:v>
                </c:pt>
                <c:pt idx="18">
                  <c:v>15.736719255929117</c:v>
                </c:pt>
                <c:pt idx="19">
                  <c:v>14.71217476771381</c:v>
                </c:pt>
                <c:pt idx="20">
                  <c:v>13.650077624872749</c:v>
                </c:pt>
                <c:pt idx="21">
                  <c:v>12.722661478362051</c:v>
                </c:pt>
                <c:pt idx="22">
                  <c:v>11.883578907854337</c:v>
                </c:pt>
                <c:pt idx="23">
                  <c:v>11.112540951545585</c:v>
                </c:pt>
                <c:pt idx="24">
                  <c:v>10.350340525913509</c:v>
                </c:pt>
                <c:pt idx="25">
                  <c:v>9.6635352971361765</c:v>
                </c:pt>
                <c:pt idx="26">
                  <c:v>9.0578706058600655</c:v>
                </c:pt>
                <c:pt idx="27">
                  <c:v>8.4554448801344204</c:v>
                </c:pt>
                <c:pt idx="28">
                  <c:v>7.8839131555764421</c:v>
                </c:pt>
                <c:pt idx="29">
                  <c:v>7.3746400705727941</c:v>
                </c:pt>
                <c:pt idx="30">
                  <c:v>6.8738846311987301</c:v>
                </c:pt>
                <c:pt idx="31">
                  <c:v>6.4099155743367122</c:v>
                </c:pt>
                <c:pt idx="32">
                  <c:v>6.0010915210795925</c:v>
                </c:pt>
                <c:pt idx="33">
                  <c:v>5.6111146951363615</c:v>
                </c:pt>
                <c:pt idx="34">
                  <c:v>5.2263956479787561</c:v>
                </c:pt>
                <c:pt idx="35">
                  <c:v>4.9019987266076201</c:v>
                </c:pt>
                <c:pt idx="36">
                  <c:v>4.5816241913239253</c:v>
                </c:pt>
                <c:pt idx="37">
                  <c:v>4.2856318949928802</c:v>
                </c:pt>
                <c:pt idx="38">
                  <c:v>4.009587973045841</c:v>
                </c:pt>
                <c:pt idx="39">
                  <c:v>3.7586682240971205</c:v>
                </c:pt>
                <c:pt idx="40">
                  <c:v>3.520671785103775</c:v>
                </c:pt>
                <c:pt idx="41">
                  <c:v>3.3021137439521859</c:v>
                </c:pt>
                <c:pt idx="42">
                  <c:v>3.0918511838594775</c:v>
                </c:pt>
                <c:pt idx="43">
                  <c:v>2.9078952895795931</c:v>
                </c:pt>
                <c:pt idx="44">
                  <c:v>2.7216043811791257</c:v>
                </c:pt>
                <c:pt idx="45">
                  <c:v>2.5646838926238136</c:v>
                </c:pt>
                <c:pt idx="46">
                  <c:v>2.4175485372047221</c:v>
                </c:pt>
                <c:pt idx="47">
                  <c:v>2.284712968436144</c:v>
                </c:pt>
                <c:pt idx="48">
                  <c:v>2.1625074992566899</c:v>
                </c:pt>
                <c:pt idx="49">
                  <c:v>2.0459664494683905</c:v>
                </c:pt>
                <c:pt idx="50">
                  <c:v>1.9367485482787878</c:v>
                </c:pt>
                <c:pt idx="51">
                  <c:v>1.8328908506479686</c:v>
                </c:pt>
                <c:pt idx="52">
                  <c:v>1.7441458657649664</c:v>
                </c:pt>
                <c:pt idx="53">
                  <c:v>1.6553952785799297</c:v>
                </c:pt>
                <c:pt idx="54">
                  <c:v>1.5790520723033958</c:v>
                </c:pt>
                <c:pt idx="55">
                  <c:v>1.5118166199150549</c:v>
                </c:pt>
                <c:pt idx="56">
                  <c:v>1.4438955295310409</c:v>
                </c:pt>
                <c:pt idx="57">
                  <c:v>1.3797842006045544</c:v>
                </c:pt>
                <c:pt idx="58">
                  <c:v>1.321868461932229</c:v>
                </c:pt>
                <c:pt idx="59">
                  <c:v>1.2631623769532789</c:v>
                </c:pt>
                <c:pt idx="60">
                  <c:v>1.210479266395782</c:v>
                </c:pt>
                <c:pt idx="61">
                  <c:v>1.1615407608333779</c:v>
                </c:pt>
                <c:pt idx="62">
                  <c:v>1.1155121596458273</c:v>
                </c:pt>
                <c:pt idx="63">
                  <c:v>1.0718272488188796</c:v>
                </c:pt>
                <c:pt idx="64">
                  <c:v>1.0302800853561669</c:v>
                </c:pt>
                <c:pt idx="65">
                  <c:v>0.99067508439895557</c:v>
                </c:pt>
                <c:pt idx="66">
                  <c:v>0.9527866837950959</c:v>
                </c:pt>
                <c:pt idx="67">
                  <c:v>0.91648104867132729</c:v>
                </c:pt>
                <c:pt idx="68">
                  <c:v>0.88164194913396443</c:v>
                </c:pt>
                <c:pt idx="69">
                  <c:v>0.84818317607215876</c:v>
                </c:pt>
                <c:pt idx="70">
                  <c:v>0.81602533948546019</c:v>
                </c:pt>
                <c:pt idx="71">
                  <c:v>0.78509977642791096</c:v>
                </c:pt>
                <c:pt idx="72">
                  <c:v>0.75533201761589286</c:v>
                </c:pt>
                <c:pt idx="73">
                  <c:v>0.72660752089588287</c:v>
                </c:pt>
                <c:pt idx="74">
                  <c:v>0.69882533623293186</c:v>
                </c:pt>
                <c:pt idx="75">
                  <c:v>0.67188720453542994</c:v>
                </c:pt>
                <c:pt idx="76">
                  <c:v>0.64571089098038181</c:v>
                </c:pt>
                <c:pt idx="77">
                  <c:v>0.62020154801973293</c:v>
                </c:pt>
                <c:pt idx="78">
                  <c:v>0.59528663529355264</c:v>
                </c:pt>
                <c:pt idx="79">
                  <c:v>0.57091230871441723</c:v>
                </c:pt>
                <c:pt idx="80">
                  <c:v>0.54703470139013799</c:v>
                </c:pt>
                <c:pt idx="81">
                  <c:v>0.52362153215493312</c:v>
                </c:pt>
                <c:pt idx="82">
                  <c:v>0.50066384712007916</c:v>
                </c:pt>
                <c:pt idx="83">
                  <c:v>0.47814827783506819</c:v>
                </c:pt>
                <c:pt idx="84">
                  <c:v>0.45608031333843946</c:v>
                </c:pt>
                <c:pt idx="85">
                  <c:v>0.43446920408985995</c:v>
                </c:pt>
                <c:pt idx="86">
                  <c:v>0.41332607873249694</c:v>
                </c:pt>
                <c:pt idx="87">
                  <c:v>0.39267323129495213</c:v>
                </c:pt>
                <c:pt idx="88">
                  <c:v>0.37253205336335143</c:v>
                </c:pt>
                <c:pt idx="89">
                  <c:v>0.35292481812081761</c:v>
                </c:pt>
                <c:pt idx="90">
                  <c:v>0.3338730355832018</c:v>
                </c:pt>
                <c:pt idx="91">
                  <c:v>0.31540064885473612</c:v>
                </c:pt>
                <c:pt idx="92">
                  <c:v>0.29752799162453308</c:v>
                </c:pt>
                <c:pt idx="93">
                  <c:v>0.28026692804830955</c:v>
                </c:pt>
                <c:pt idx="94">
                  <c:v>0.26363494469785959</c:v>
                </c:pt>
                <c:pt idx="95">
                  <c:v>0.24764754056648178</c:v>
                </c:pt>
                <c:pt idx="96">
                  <c:v>0.23231394122449758</c:v>
                </c:pt>
                <c:pt idx="97">
                  <c:v>0.21763926568494382</c:v>
                </c:pt>
                <c:pt idx="98">
                  <c:v>0.20362628682580142</c:v>
                </c:pt>
                <c:pt idx="99">
                  <c:v>0.19027400312989351</c:v>
                </c:pt>
                <c:pt idx="100">
                  <c:v>0.17757950996146643</c:v>
                </c:pt>
                <c:pt idx="101">
                  <c:v>0.16553485033411816</c:v>
                </c:pt>
                <c:pt idx="102">
                  <c:v>0.15412872573324451</c:v>
                </c:pt>
                <c:pt idx="103">
                  <c:v>0.14334689920702109</c:v>
                </c:pt>
                <c:pt idx="104">
                  <c:v>0.13317346302715921</c:v>
                </c:pt>
                <c:pt idx="105">
                  <c:v>0.12359009246268086</c:v>
                </c:pt>
                <c:pt idx="106">
                  <c:v>8.4664813589400964E-2</c:v>
                </c:pt>
                <c:pt idx="107">
                  <c:v>5.5222905515059637E-2</c:v>
                </c:pt>
                <c:pt idx="108">
                  <c:v>3.4902889357129638E-2</c:v>
                </c:pt>
                <c:pt idx="109">
                  <c:v>2.3461235099700259E-2</c:v>
                </c:pt>
                <c:pt idx="110">
                  <c:v>2.037424430210015E-2</c:v>
                </c:pt>
                <c:pt idx="111">
                  <c:v>2.5017883505559599E-2</c:v>
                </c:pt>
                <c:pt idx="112">
                  <c:v>3.6625920487315319E-2</c:v>
                </c:pt>
                <c:pt idx="113">
                  <c:v>5.4300579792183765E-2</c:v>
                </c:pt>
                <c:pt idx="114">
                  <c:v>7.7160420381032033E-2</c:v>
                </c:pt>
                <c:pt idx="115">
                  <c:v>0.10427997755254752</c:v>
                </c:pt>
                <c:pt idx="116">
                  <c:v>0.13459111355082126</c:v>
                </c:pt>
                <c:pt idx="117">
                  <c:v>0.16719158497801895</c:v>
                </c:pt>
                <c:pt idx="118">
                  <c:v>0.20132169002211348</c:v>
                </c:pt>
                <c:pt idx="119">
                  <c:v>0.23625337839550936</c:v>
                </c:pt>
                <c:pt idx="120">
                  <c:v>0.2712495012183222</c:v>
                </c:pt>
                <c:pt idx="121">
                  <c:v>0.30569289788198145</c:v>
                </c:pt>
                <c:pt idx="122">
                  <c:v>0.33899787172663015</c:v>
                </c:pt>
                <c:pt idx="123">
                  <c:v>0.37067009626534569</c:v>
                </c:pt>
                <c:pt idx="124">
                  <c:v>0.40034753260383277</c:v>
                </c:pt>
                <c:pt idx="125">
                  <c:v>0.42778418708835958</c:v>
                </c:pt>
                <c:pt idx="126">
                  <c:v>0.45278544055318609</c:v>
                </c:pt>
                <c:pt idx="127">
                  <c:v>0.4751905103391893</c:v>
                </c:pt>
                <c:pt idx="128">
                  <c:v>0.49487724538126326</c:v>
                </c:pt>
                <c:pt idx="129">
                  <c:v>0.5117405646421409</c:v>
                </c:pt>
                <c:pt idx="130">
                  <c:v>0.52569756986032323</c:v>
                </c:pt>
                <c:pt idx="131">
                  <c:v>0.53674892444811362</c:v>
                </c:pt>
                <c:pt idx="132">
                  <c:v>0.54491247470129944</c:v>
                </c:pt>
                <c:pt idx="133">
                  <c:v>0.55024917180812705</c:v>
                </c:pt>
                <c:pt idx="134">
                  <c:v>0.55284336076108676</c:v>
                </c:pt>
                <c:pt idx="135">
                  <c:v>0.55276950820841297</c:v>
                </c:pt>
                <c:pt idx="136">
                  <c:v>0.55010170963924021</c:v>
                </c:pt>
                <c:pt idx="137">
                  <c:v>0.54492401156751247</c:v>
                </c:pt>
                <c:pt idx="138">
                  <c:v>0.53734935906602366</c:v>
                </c:pt>
                <c:pt idx="139">
                  <c:v>0.52752345978112136</c:v>
                </c:pt>
                <c:pt idx="140">
                  <c:v>0.5155627977267121</c:v>
                </c:pt>
                <c:pt idx="141">
                  <c:v>0.50156930111783793</c:v>
                </c:pt>
                <c:pt idx="142">
                  <c:v>0.48563454425283736</c:v>
                </c:pt>
                <c:pt idx="143">
                  <c:v>0.46783380246639417</c:v>
                </c:pt>
                <c:pt idx="144">
                  <c:v>0.44823735863228342</c:v>
                </c:pt>
                <c:pt idx="145">
                  <c:v>0.42692719066303586</c:v>
                </c:pt>
                <c:pt idx="146">
                  <c:v>0.40398596894795458</c:v>
                </c:pt>
                <c:pt idx="147">
                  <c:v>0.37948705927974324</c:v>
                </c:pt>
                <c:pt idx="148">
                  <c:v>0.35350173554804543</c:v>
                </c:pt>
                <c:pt idx="149">
                  <c:v>0.32609517881690242</c:v>
                </c:pt>
                <c:pt idx="150">
                  <c:v>0.29731842278044218</c:v>
                </c:pt>
                <c:pt idx="151">
                  <c:v>0.26721945369383371</c:v>
                </c:pt>
                <c:pt idx="152">
                  <c:v>0.23584648208536962</c:v>
                </c:pt>
                <c:pt idx="153">
                  <c:v>0.20325540638191986</c:v>
                </c:pt>
                <c:pt idx="154">
                  <c:v>0.16950035608181335</c:v>
                </c:pt>
                <c:pt idx="155">
                  <c:v>0.1346344905503456</c:v>
                </c:pt>
                <c:pt idx="156">
                  <c:v>9.870614043444692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3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4522988182827074"/>
          <c:y val="5.8593746395561863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2:$S$2</c:f>
              <c:numCache>
                <c:formatCode>General</c:formatCode>
                <c:ptCount val="18"/>
                <c:pt idx="0">
                  <c:v>3.4199927730000002</c:v>
                </c:pt>
                <c:pt idx="1">
                  <c:v>3.728352777</c:v>
                </c:pt>
                <c:pt idx="2">
                  <c:v>4.4291709690000003</c:v>
                </c:pt>
                <c:pt idx="3">
                  <c:v>10.334732259999999</c:v>
                </c:pt>
                <c:pt idx="4">
                  <c:v>8.4939164779999992</c:v>
                </c:pt>
                <c:pt idx="5">
                  <c:v>6.1298231129999996</c:v>
                </c:pt>
                <c:pt idx="6">
                  <c:v>7.1950667629999998</c:v>
                </c:pt>
                <c:pt idx="7">
                  <c:v>12.84833351</c:v>
                </c:pt>
                <c:pt idx="8">
                  <c:v>13.58652867</c:v>
                </c:pt>
                <c:pt idx="9">
                  <c:v>14.64242808</c:v>
                </c:pt>
                <c:pt idx="10">
                  <c:v>15.4834099</c:v>
                </c:pt>
                <c:pt idx="11">
                  <c:v>17.80078206</c:v>
                </c:pt>
                <c:pt idx="12">
                  <c:v>22.874705760000001</c:v>
                </c:pt>
                <c:pt idx="13">
                  <c:v>35.367958049999999</c:v>
                </c:pt>
                <c:pt idx="14">
                  <c:v>75.062300399999998</c:v>
                </c:pt>
                <c:pt idx="15">
                  <c:v>122.39088889999999</c:v>
                </c:pt>
                <c:pt idx="16">
                  <c:v>143.01363219999999</c:v>
                </c:pt>
                <c:pt idx="17">
                  <c:v>166.9348931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3:$S$3</c:f>
              <c:numCache>
                <c:formatCode>General</c:formatCode>
                <c:ptCount val="18"/>
                <c:pt idx="0">
                  <c:v>19.753728750000001</c:v>
                </c:pt>
                <c:pt idx="1">
                  <c:v>12.091449860000001</c:v>
                </c:pt>
                <c:pt idx="2">
                  <c:v>8.1762122309999992</c:v>
                </c:pt>
                <c:pt idx="3">
                  <c:v>6.727854636</c:v>
                </c:pt>
                <c:pt idx="4">
                  <c:v>9.1853904259999997</c:v>
                </c:pt>
                <c:pt idx="5">
                  <c:v>13.698659579999999</c:v>
                </c:pt>
                <c:pt idx="6">
                  <c:v>14.717182019999999</c:v>
                </c:pt>
                <c:pt idx="7">
                  <c:v>12.28767895</c:v>
                </c:pt>
                <c:pt idx="8">
                  <c:v>10.55899408</c:v>
                </c:pt>
                <c:pt idx="9">
                  <c:v>11.287845000000001</c:v>
                </c:pt>
                <c:pt idx="10">
                  <c:v>12.306367440000001</c:v>
                </c:pt>
                <c:pt idx="11">
                  <c:v>12.07276137</c:v>
                </c:pt>
                <c:pt idx="12">
                  <c:v>12.521285020000001</c:v>
                </c:pt>
                <c:pt idx="13">
                  <c:v>17.726028119999999</c:v>
                </c:pt>
                <c:pt idx="14">
                  <c:v>25.210766400000001</c:v>
                </c:pt>
                <c:pt idx="15">
                  <c:v>28.26633371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190384532955511E-2"/>
          <c:y val="1.7338673528478215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2:$S$2</c:f>
              <c:numCache>
                <c:formatCode>General</c:formatCode>
                <c:ptCount val="18"/>
                <c:pt idx="0">
                  <c:v>2.2999999999999998</c:v>
                </c:pt>
                <c:pt idx="1">
                  <c:v>1.8</c:v>
                </c:pt>
                <c:pt idx="2">
                  <c:v>1.8</c:v>
                </c:pt>
                <c:pt idx="3">
                  <c:v>1.8</c:v>
                </c:pt>
                <c:pt idx="4">
                  <c:v>2.6</c:v>
                </c:pt>
                <c:pt idx="5">
                  <c:v>3.7</c:v>
                </c:pt>
                <c:pt idx="6">
                  <c:v>4.0999999999999996</c:v>
                </c:pt>
                <c:pt idx="7">
                  <c:v>3.7</c:v>
                </c:pt>
                <c:pt idx="8">
                  <c:v>4.4000000000000004</c:v>
                </c:pt>
                <c:pt idx="9">
                  <c:v>4.0999999999999996</c:v>
                </c:pt>
                <c:pt idx="10">
                  <c:v>6.7</c:v>
                </c:pt>
                <c:pt idx="11">
                  <c:v>6</c:v>
                </c:pt>
                <c:pt idx="12">
                  <c:v>7.9</c:v>
                </c:pt>
                <c:pt idx="13">
                  <c:v>10.6</c:v>
                </c:pt>
                <c:pt idx="14">
                  <c:v>19</c:v>
                </c:pt>
                <c:pt idx="15">
                  <c:v>30.8</c:v>
                </c:pt>
                <c:pt idx="16">
                  <c:v>34.9</c:v>
                </c:pt>
                <c:pt idx="17">
                  <c:v>35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3:$S$3</c:f>
              <c:numCache>
                <c:formatCode>General</c:formatCode>
                <c:ptCount val="18"/>
                <c:pt idx="0">
                  <c:v>13.4</c:v>
                </c:pt>
                <c:pt idx="1">
                  <c:v>6.7</c:v>
                </c:pt>
                <c:pt idx="2">
                  <c:v>3.2</c:v>
                </c:pt>
                <c:pt idx="3">
                  <c:v>3.9</c:v>
                </c:pt>
                <c:pt idx="4">
                  <c:v>4.2</c:v>
                </c:pt>
                <c:pt idx="5">
                  <c:v>4.8</c:v>
                </c:pt>
                <c:pt idx="6">
                  <c:v>5.5</c:v>
                </c:pt>
                <c:pt idx="7">
                  <c:v>3.5</c:v>
                </c:pt>
                <c:pt idx="8">
                  <c:v>5.0999999999999996</c:v>
                </c:pt>
                <c:pt idx="9">
                  <c:v>7.2</c:v>
                </c:pt>
                <c:pt idx="10">
                  <c:v>5.5</c:v>
                </c:pt>
                <c:pt idx="11">
                  <c:v>4.5999999999999996</c:v>
                </c:pt>
                <c:pt idx="12">
                  <c:v>6.2</c:v>
                </c:pt>
                <c:pt idx="13">
                  <c:v>9.6999999999999993</c:v>
                </c:pt>
                <c:pt idx="14">
                  <c:v>11.1</c:v>
                </c:pt>
                <c:pt idx="15">
                  <c:v>12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190384532955511E-2"/>
          <c:y val="1.7338673528478215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2:$S$2</c:f>
              <c:numCache>
                <c:formatCode>0.0</c:formatCode>
                <c:ptCount val="18"/>
                <c:pt idx="0">
                  <c:v>1.8</c:v>
                </c:pt>
                <c:pt idx="1">
                  <c:v>1.6</c:v>
                </c:pt>
                <c:pt idx="2">
                  <c:v>1.9</c:v>
                </c:pt>
                <c:pt idx="3">
                  <c:v>3.9</c:v>
                </c:pt>
                <c:pt idx="4">
                  <c:v>4.8</c:v>
                </c:pt>
                <c:pt idx="5">
                  <c:v>3.9</c:v>
                </c:pt>
                <c:pt idx="6">
                  <c:v>3.6</c:v>
                </c:pt>
                <c:pt idx="7">
                  <c:v>5.9</c:v>
                </c:pt>
                <c:pt idx="8">
                  <c:v>6.1</c:v>
                </c:pt>
                <c:pt idx="9">
                  <c:v>5</c:v>
                </c:pt>
                <c:pt idx="10">
                  <c:v>4.9000000000000004</c:v>
                </c:pt>
                <c:pt idx="11">
                  <c:v>9.6</c:v>
                </c:pt>
                <c:pt idx="12">
                  <c:v>10</c:v>
                </c:pt>
                <c:pt idx="13">
                  <c:v>15.6</c:v>
                </c:pt>
                <c:pt idx="14">
                  <c:v>43.3</c:v>
                </c:pt>
                <c:pt idx="15">
                  <c:v>95.4</c:v>
                </c:pt>
                <c:pt idx="16">
                  <c:v>114.6</c:v>
                </c:pt>
                <c:pt idx="17">
                  <c:v>105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8EE-4CBC-9AF1-4D99DC429A54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3:$S$3</c:f>
              <c:numCache>
                <c:formatCode>0.0</c:formatCode>
                <c:ptCount val="18"/>
                <c:pt idx="0">
                  <c:v>25.9</c:v>
                </c:pt>
                <c:pt idx="1">
                  <c:v>13.5</c:v>
                </c:pt>
                <c:pt idx="2">
                  <c:v>8.4</c:v>
                </c:pt>
                <c:pt idx="3">
                  <c:v>5.3</c:v>
                </c:pt>
                <c:pt idx="4">
                  <c:v>7</c:v>
                </c:pt>
                <c:pt idx="5">
                  <c:v>9.9</c:v>
                </c:pt>
                <c:pt idx="6">
                  <c:v>14.5</c:v>
                </c:pt>
                <c:pt idx="7">
                  <c:v>11.5</c:v>
                </c:pt>
                <c:pt idx="8">
                  <c:v>14</c:v>
                </c:pt>
                <c:pt idx="9">
                  <c:v>11.9</c:v>
                </c:pt>
                <c:pt idx="10">
                  <c:v>19</c:v>
                </c:pt>
                <c:pt idx="11">
                  <c:v>14.4</c:v>
                </c:pt>
                <c:pt idx="12">
                  <c:v>17.899999999999999</c:v>
                </c:pt>
                <c:pt idx="13" formatCode="General">
                  <c:v>27.5</c:v>
                </c:pt>
                <c:pt idx="14" formatCode="General">
                  <c:v>52.8</c:v>
                </c:pt>
                <c:pt idx="15">
                  <c:v>56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8EE-4CBC-9AF1-4D99DC429A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25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190384532955511E-2"/>
          <c:y val="1.7338673528478215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2:$S$2</c:f>
              <c:numCache>
                <c:formatCode>0.0</c:formatCode>
                <c:ptCount val="18"/>
                <c:pt idx="0">
                  <c:v>2.5</c:v>
                </c:pt>
                <c:pt idx="1">
                  <c:v>1.7</c:v>
                </c:pt>
                <c:pt idx="2">
                  <c:v>2.7</c:v>
                </c:pt>
                <c:pt idx="3">
                  <c:v>2.4</c:v>
                </c:pt>
                <c:pt idx="4">
                  <c:v>8.8000000000000007</c:v>
                </c:pt>
                <c:pt idx="5">
                  <c:v>5.0999999999999996</c:v>
                </c:pt>
                <c:pt idx="6">
                  <c:v>9.1</c:v>
                </c:pt>
                <c:pt idx="7">
                  <c:v>18.899999999999999</c:v>
                </c:pt>
                <c:pt idx="8">
                  <c:v>25.3</c:v>
                </c:pt>
                <c:pt idx="9">
                  <c:v>14.7</c:v>
                </c:pt>
                <c:pt idx="10">
                  <c:v>13.9</c:v>
                </c:pt>
                <c:pt idx="11">
                  <c:v>20.399999999999999</c:v>
                </c:pt>
                <c:pt idx="12">
                  <c:v>19.600000000000001</c:v>
                </c:pt>
                <c:pt idx="13">
                  <c:v>34.799999999999997</c:v>
                </c:pt>
                <c:pt idx="14">
                  <c:v>125</c:v>
                </c:pt>
                <c:pt idx="15">
                  <c:v>256.8</c:v>
                </c:pt>
                <c:pt idx="16">
                  <c:v>280.89999999999998</c:v>
                </c:pt>
                <c:pt idx="17">
                  <c:v>203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10-42B4-976E-33BD47C06A80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3:$S$3</c:f>
              <c:numCache>
                <c:formatCode>0.0</c:formatCode>
                <c:ptCount val="18"/>
                <c:pt idx="0">
                  <c:v>38.700000000000003</c:v>
                </c:pt>
                <c:pt idx="1">
                  <c:v>30.7</c:v>
                </c:pt>
                <c:pt idx="2">
                  <c:v>14.4</c:v>
                </c:pt>
                <c:pt idx="3">
                  <c:v>15.3</c:v>
                </c:pt>
                <c:pt idx="4">
                  <c:v>22.7</c:v>
                </c:pt>
                <c:pt idx="5">
                  <c:v>35.700000000000003</c:v>
                </c:pt>
                <c:pt idx="6">
                  <c:v>35.799999999999997</c:v>
                </c:pt>
                <c:pt idx="7">
                  <c:v>28.2</c:v>
                </c:pt>
                <c:pt idx="8">
                  <c:v>26.5</c:v>
                </c:pt>
                <c:pt idx="9">
                  <c:v>29.1</c:v>
                </c:pt>
                <c:pt idx="10">
                  <c:v>31.3</c:v>
                </c:pt>
                <c:pt idx="11">
                  <c:v>24.7</c:v>
                </c:pt>
                <c:pt idx="12">
                  <c:v>21.7</c:v>
                </c:pt>
                <c:pt idx="13">
                  <c:v>42.6</c:v>
                </c:pt>
                <c:pt idx="14">
                  <c:v>67.099999999999994</c:v>
                </c:pt>
                <c:pt idx="15">
                  <c:v>68.5999999999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10-42B4-976E-33BD47C06A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3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190384532955511E-2"/>
          <c:y val="1.7338673528478215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2:$S$2</c:f>
              <c:numCache>
                <c:formatCode>0.0</c:formatCode>
                <c:ptCount val="18"/>
                <c:pt idx="0">
                  <c:v>4.511031672943</c:v>
                </c:pt>
                <c:pt idx="1">
                  <c:v>4.401006510188</c:v>
                </c:pt>
                <c:pt idx="2">
                  <c:v>5.2261952308490001</c:v>
                </c:pt>
                <c:pt idx="3">
                  <c:v>14.193245995359</c:v>
                </c:pt>
                <c:pt idx="4">
                  <c:v>9.0770759272639996</c:v>
                </c:pt>
                <c:pt idx="5">
                  <c:v>8.7470004390000007</c:v>
                </c:pt>
                <c:pt idx="6">
                  <c:v>11.332591763736</c:v>
                </c:pt>
                <c:pt idx="7">
                  <c:v>22.775208690227</c:v>
                </c:pt>
                <c:pt idx="8">
                  <c:v>25.580850340472001</c:v>
                </c:pt>
                <c:pt idx="9">
                  <c:v>32.622460756774998</c:v>
                </c:pt>
                <c:pt idx="10">
                  <c:v>33.887750128454002</c:v>
                </c:pt>
                <c:pt idx="11">
                  <c:v>34.602913686359997</c:v>
                </c:pt>
                <c:pt idx="12">
                  <c:v>48.466084193455004</c:v>
                </c:pt>
                <c:pt idx="13">
                  <c:v>69.810965767870997</c:v>
                </c:pt>
                <c:pt idx="14">
                  <c:v>131.590094654647</c:v>
                </c:pt>
                <c:pt idx="15">
                  <c:v>189.46333026363101</c:v>
                </c:pt>
                <c:pt idx="16">
                  <c:v>190.453556728423</c:v>
                </c:pt>
                <c:pt idx="17">
                  <c:v>219.6102248584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51-466D-89AE-D0A7CB1C8A0E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S$1</c:f>
              <c:strCache>
                <c:ptCount val="18"/>
                <c:pt idx="0">
                  <c:v>01.06 - 07.06</c:v>
                </c:pt>
                <c:pt idx="1">
                  <c:v>08.06 - 14.06</c:v>
                </c:pt>
                <c:pt idx="2">
                  <c:v>15.06 - 21.06</c:v>
                </c:pt>
                <c:pt idx="3">
                  <c:v>22.06 - 28.06</c:v>
                </c:pt>
                <c:pt idx="4">
                  <c:v>29.06 - 05.07</c:v>
                </c:pt>
                <c:pt idx="5">
                  <c:v>06.07 - 12.07</c:v>
                </c:pt>
                <c:pt idx="6">
                  <c:v>13.07 - 19.07</c:v>
                </c:pt>
                <c:pt idx="7">
                  <c:v>20.07 - 26.07</c:v>
                </c:pt>
                <c:pt idx="8">
                  <c:v>27.07 - 02.08</c:v>
                </c:pt>
                <c:pt idx="9">
                  <c:v>03.08 - 09.08</c:v>
                </c:pt>
                <c:pt idx="10">
                  <c:v>10.08 - 16.08</c:v>
                </c:pt>
                <c:pt idx="11">
                  <c:v>17.08 - 23.08</c:v>
                </c:pt>
                <c:pt idx="12">
                  <c:v>24.08 - 30.08</c:v>
                </c:pt>
                <c:pt idx="13">
                  <c:v>31.08 - 06.09</c:v>
                </c:pt>
                <c:pt idx="14">
                  <c:v>07.09 - 13.09</c:v>
                </c:pt>
                <c:pt idx="15">
                  <c:v>14.09 - 20.09</c:v>
                </c:pt>
                <c:pt idx="16">
                  <c:v>21.09 - 27.09</c:v>
                </c:pt>
                <c:pt idx="17">
                  <c:v>28.09 - 04.10</c:v>
                </c:pt>
              </c:strCache>
            </c:strRef>
          </c:cat>
          <c:val>
            <c:numRef>
              <c:f>List1!$B$3:$S$3</c:f>
              <c:numCache>
                <c:formatCode>0.0</c:formatCode>
                <c:ptCount val="18"/>
                <c:pt idx="0">
                  <c:v>24.315560968793001</c:v>
                </c:pt>
                <c:pt idx="1">
                  <c:v>16.338736669075999</c:v>
                </c:pt>
                <c:pt idx="2">
                  <c:v>14.633346646378</c:v>
                </c:pt>
                <c:pt idx="3">
                  <c:v>14.578334065</c:v>
                </c:pt>
                <c:pt idx="4">
                  <c:v>23.105284178491001</c:v>
                </c:pt>
                <c:pt idx="5">
                  <c:v>32.567448175396997</c:v>
                </c:pt>
                <c:pt idx="6">
                  <c:v>31.852284617492</c:v>
                </c:pt>
                <c:pt idx="7">
                  <c:v>27.451278107303001</c:v>
                </c:pt>
                <c:pt idx="8">
                  <c:v>20.904780923396999</c:v>
                </c:pt>
                <c:pt idx="9">
                  <c:v>23.710422573641999</c:v>
                </c:pt>
                <c:pt idx="10">
                  <c:v>22.665183527471999</c:v>
                </c:pt>
                <c:pt idx="11">
                  <c:v>22.115057713698999</c:v>
                </c:pt>
                <c:pt idx="12">
                  <c:v>22.445133201962999</c:v>
                </c:pt>
                <c:pt idx="13">
                  <c:v>24.260548387416002</c:v>
                </c:pt>
                <c:pt idx="14">
                  <c:v>30.091882013416001</c:v>
                </c:pt>
                <c:pt idx="15">
                  <c:v>33.722712384322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51-466D-89AE-D0A7CB1C8A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3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504</cdr:x>
      <cdr:y>0.52232</cdr:y>
    </cdr:from>
    <cdr:to>
      <cdr:x>0.84908</cdr:x>
      <cdr:y>0.52232</cdr:y>
    </cdr:to>
    <cdr:cxnSp macro="">
      <cdr:nvCxnSpPr>
        <cdr:cNvPr id="3" name="Přímá spojnice 2">
          <a:extLst xmlns:a="http://schemas.openxmlformats.org/drawingml/2006/main">
            <a:ext uri="{FF2B5EF4-FFF2-40B4-BE49-F238E27FC236}">
              <a16:creationId xmlns:a16="http://schemas.microsoft.com/office/drawing/2014/main" id="{C981A278-ECF0-4740-90D1-51E33430F70C}"/>
            </a:ext>
          </a:extLst>
        </cdr:cNvPr>
        <cdr:cNvCxnSpPr/>
      </cdr:nvCxnSpPr>
      <cdr:spPr>
        <a:xfrm xmlns:a="http://schemas.openxmlformats.org/drawingml/2006/main">
          <a:off x="480255" y="2802440"/>
          <a:ext cx="8572500" cy="0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76614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52262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89618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544438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6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12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2.svg"/><Relationship Id="rId5" Type="http://schemas.openxmlformats.org/officeDocument/2006/relationships/image" Target="../media/image27.png"/><Relationship Id="rId4" Type="http://schemas.openxmlformats.org/officeDocument/2006/relationships/image" Target="../media/image24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29.sv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12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12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20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20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2.svg"/><Relationship Id="rId5" Type="http://schemas.openxmlformats.org/officeDocument/2006/relationships/image" Target="../media/image32.png"/><Relationship Id="rId4" Type="http://schemas.openxmlformats.org/officeDocument/2006/relationships/image" Target="../media/image20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5.png"/><Relationship Id="rId5" Type="http://schemas.openxmlformats.org/officeDocument/2006/relationships/image" Target="../media/image12.svg"/><Relationship Id="rId4" Type="http://schemas.openxmlformats.org/officeDocument/2006/relationships/image" Target="../media/image34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5.png"/><Relationship Id="rId5" Type="http://schemas.openxmlformats.org/officeDocument/2006/relationships/image" Target="../media/image12.svg"/><Relationship Id="rId4" Type="http://schemas.openxmlformats.org/officeDocument/2006/relationships/image" Target="../media/image34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5.png"/><Relationship Id="rId5" Type="http://schemas.openxmlformats.org/officeDocument/2006/relationships/image" Target="../media/image12.svg"/><Relationship Id="rId4" Type="http://schemas.openxmlformats.org/officeDocument/2006/relationships/image" Target="../media/image34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5.png"/><Relationship Id="rId5" Type="http://schemas.openxmlformats.org/officeDocument/2006/relationships/image" Target="../media/image12.svg"/><Relationship Id="rId4" Type="http://schemas.openxmlformats.org/officeDocument/2006/relationships/image" Target="../media/image34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2.svg"/><Relationship Id="rId5" Type="http://schemas.openxmlformats.org/officeDocument/2006/relationships/image" Target="../media/image32.png"/><Relationship Id="rId4" Type="http://schemas.openxmlformats.org/officeDocument/2006/relationships/image" Target="../media/image20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8.09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87209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079718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173666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7421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4596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6494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425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41895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670615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38402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155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7063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7911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984680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473986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01273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310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10765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35272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732977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19453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3681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250694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810187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971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15095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01735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125547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9744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530278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8.09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image" Target="../media/image12.svg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image" Target="../media/image17.png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20.svg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image" Target="../media/image1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  <p:sldLayoutId id="2147483809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302217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802507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6121245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698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3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3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2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chart" Target="../charts/chart1.xml"/><Relationship Id="rId5" Type="http://schemas.openxmlformats.org/officeDocument/2006/relationships/tags" Target="../tags/tag30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29.xml"/><Relationship Id="rId9" Type="http://schemas.openxmlformats.org/officeDocument/2006/relationships/tags" Target="../tags/tag3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chart" Target="../charts/chart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chart" Target="../charts/chart3.xml"/><Relationship Id="rId5" Type="http://schemas.openxmlformats.org/officeDocument/2006/relationships/tags" Target="../tags/tag50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49.xml"/><Relationship Id="rId9" Type="http://schemas.openxmlformats.org/officeDocument/2006/relationships/tags" Target="../tags/tag54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chart" Target="../charts/chart4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4" Type="http://schemas.openxmlformats.org/officeDocument/2006/relationships/chart" Target="../charts/chart5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chart" Target="../charts/chart7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chart" Target="../charts/chart6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73.xml"/><Relationship Id="rId15" Type="http://schemas.openxmlformats.org/officeDocument/2006/relationships/chart" Target="../charts/chart9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chart" Target="../charts/chart8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chart" Target="../charts/chart11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chart" Target="../charts/chart10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83.xml"/><Relationship Id="rId15" Type="http://schemas.openxmlformats.org/officeDocument/2006/relationships/chart" Target="../charts/chart13.xml"/><Relationship Id="rId10" Type="http://schemas.openxmlformats.org/officeDocument/2006/relationships/tags" Target="../tags/tag88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chart" Target="../charts/chart1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chart" Target="../charts/chart14.xml"/><Relationship Id="rId4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chart" Target="../charts/chart15.xml"/><Relationship Id="rId4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chart" Target="../charts/chart16.xml"/><Relationship Id="rId4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chart" Target="../charts/chart17.xml"/><Relationship Id="rId4" Type="http://schemas.openxmlformats.org/officeDocument/2006/relationships/slideLayout" Target="../slideLayouts/slideLayout3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5" Type="http://schemas.openxmlformats.org/officeDocument/2006/relationships/chart" Target="../charts/chart18.xml"/><Relationship Id="rId4" Type="http://schemas.openxmlformats.org/officeDocument/2006/relationships/slideLayout" Target="../slideLayouts/slideLayout3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chart" Target="../charts/chart19.xml"/><Relationship Id="rId4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5" Type="http://schemas.openxmlformats.org/officeDocument/2006/relationships/chart" Target="../charts/chart20.xml"/><Relationship Id="rId4" Type="http://schemas.openxmlformats.org/officeDocument/2006/relationships/slideLayout" Target="../slideLayouts/slideLayout3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chart" Target="../charts/chart21.xml"/><Relationship Id="rId4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828910"/>
            <a:ext cx="11905307" cy="2236911"/>
          </a:xfrm>
        </p:spPr>
        <p:txBody>
          <a:bodyPr>
            <a:normAutofit fontScale="92500" lnSpcReduction="10000"/>
          </a:bodyPr>
          <a:lstStyle/>
          <a:p>
            <a:r>
              <a:rPr lang="cs-CZ" sz="5200" b="1" dirty="0"/>
              <a:t>Variantní predikce a zhodnocení </a:t>
            </a:r>
          </a:p>
          <a:p>
            <a:r>
              <a:rPr lang="cs-CZ" sz="5200" b="1" dirty="0"/>
              <a:t>vývoje epidemie </a:t>
            </a:r>
          </a:p>
          <a:p>
            <a:r>
              <a:rPr lang="cs-CZ" sz="5200" b="1" i="1" dirty="0"/>
              <a:t>Draft k </a:t>
            </a:r>
            <a:r>
              <a:rPr lang="en-US" sz="5200" b="1" i="1" dirty="0"/>
              <a:t>2</a:t>
            </a:r>
            <a:r>
              <a:rPr lang="cs-CZ" sz="5200" b="1" i="1" dirty="0"/>
              <a:t>7.</a:t>
            </a:r>
            <a:r>
              <a:rPr lang="en-US" sz="5200" b="1" i="1" dirty="0"/>
              <a:t>9</a:t>
            </a:r>
            <a:r>
              <a:rPr lang="cs-CZ" sz="5200" b="1" i="1" dirty="0"/>
              <a:t>. 2021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357515" y="2409977"/>
            <a:ext cx="1096764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ČR stále existuje značné množství obcí, zejména malých sídel v odlehlých částech více regionů, kde je proočkovanost populace podprůměrná, a to včetně populace seniorů. Potenciální problém představují zejména oblasti (ORP, okresy), kde je v těsné blízkosti takto kumulováno více sousedících obcí s nízkou proočkovaností populace. V těchto oblastech by při růstu epidemie na podzim mohlo docházet ke vzniku plošných ohnisek nákazy, včetně eskalace rizika zásahu zranitelných skupin. Z aktuálních dat se takto rizikově jeví zejména odlehlé oblasti moravských krajů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164700" y="1419797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důvody, proč predikce stále kalkuluj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značnou mírou rizika a s možností eskalace nákazy</a:t>
            </a:r>
          </a:p>
        </p:txBody>
      </p:sp>
      <p:sp>
        <p:nvSpPr>
          <p:cNvPr id="12" name="Šipka dolů 5">
            <a:extLst>
              <a:ext uri="{FF2B5EF4-FFF2-40B4-BE49-F238E27FC236}">
                <a16:creationId xmlns:a16="http://schemas.microsoft.com/office/drawing/2014/main" id="{902FC3E1-0405-49C2-A95C-429D795A0911}"/>
              </a:ext>
            </a:extLst>
          </p:cNvPr>
          <p:cNvSpPr/>
          <p:nvPr/>
        </p:nvSpPr>
        <p:spPr>
          <a:xfrm>
            <a:off x="5155175" y="4830436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C98192F-424C-4647-82A6-411F6943FFF9}"/>
              </a:ext>
            </a:extLst>
          </p:cNvPr>
          <p:cNvSpPr txBox="1"/>
          <p:nvPr/>
        </p:nvSpPr>
        <p:spPr>
          <a:xfrm>
            <a:off x="474582" y="5515878"/>
            <a:ext cx="110491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i="1" dirty="0"/>
              <a:t>Posílení očkování v oblastech s nízkou proočkovaností, včetně malých sídel, je dalším krokem, který významně minimalizuje potenciál plošného šíření nákazy na podzim. </a:t>
            </a:r>
          </a:p>
        </p:txBody>
      </p:sp>
    </p:spTree>
    <p:extLst>
      <p:ext uri="{BB962C8B-B14F-4D97-AF65-F5344CB8AC3E}">
        <p14:creationId xmlns:p14="http://schemas.microsoft.com/office/powerpoint/2010/main" val="10076677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A914B0CF-B9BE-471D-BC88-67DB81A6AC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76001"/>
            <a:ext cx="11629002" cy="6281999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910" y="0"/>
            <a:ext cx="7434501" cy="576000"/>
          </a:xfrm>
        </p:spPr>
        <p:txBody>
          <a:bodyPr/>
          <a:lstStyle/>
          <a:p>
            <a:r>
              <a:rPr lang="cs-CZ" dirty="0"/>
              <a:t>16 a více let: podíl osob očkovaných alespoň 1 dávkou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6810374" y="36659"/>
            <a:ext cx="15335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. 9. 2021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C40225D3-DC79-429E-9E3D-91309D7ADA40}"/>
              </a:ext>
            </a:extLst>
          </p:cNvPr>
          <p:cNvSpPr/>
          <p:nvPr/>
        </p:nvSpPr>
        <p:spPr>
          <a:xfrm>
            <a:off x="9350574" y="1045331"/>
            <a:ext cx="21884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očkovaných osob (%)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4A2DAB93-D997-4EEA-ADF6-06F236A8710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6242"/>
          <a:stretch/>
        </p:blipFill>
        <p:spPr>
          <a:xfrm>
            <a:off x="9822021" y="1322330"/>
            <a:ext cx="303054" cy="1287959"/>
          </a:xfrm>
          <a:prstGeom prst="rect">
            <a:avLst/>
          </a:prstGeom>
        </p:spPr>
      </p:pic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5681AE3D-D17A-4B8E-AA97-42CB7FC69463}"/>
              </a:ext>
            </a:extLst>
          </p:cNvPr>
          <p:cNvGraphicFramePr>
            <a:graphicFrameLocks noGrp="1"/>
          </p:cNvGraphicFramePr>
          <p:nvPr/>
        </p:nvGraphicFramePr>
        <p:xfrm>
          <a:off x="10125075" y="1320209"/>
          <a:ext cx="1200150" cy="1260000"/>
        </p:xfrm>
        <a:graphic>
          <a:graphicData uri="http://schemas.openxmlformats.org/drawingml/2006/table">
            <a:tbl>
              <a:tblPr/>
              <a:tblGrid>
                <a:gridCol w="1200150">
                  <a:extLst>
                    <a:ext uri="{9D8B030D-6E8A-4147-A177-3AD203B41FA5}">
                      <a16:colId xmlns:a16="http://schemas.microsoft.com/office/drawing/2014/main" val="2096772120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52,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758027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00 - 55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560359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00 - 59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309851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00 - 63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39277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= 64,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8306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8443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A2E376B3-24F6-4BF3-8008-14438F7E2D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76001"/>
            <a:ext cx="11629002" cy="6281999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910" y="0"/>
            <a:ext cx="7434501" cy="576000"/>
          </a:xfrm>
        </p:spPr>
        <p:txBody>
          <a:bodyPr/>
          <a:lstStyle/>
          <a:p>
            <a:r>
              <a:rPr lang="cs-CZ" dirty="0"/>
              <a:t>16 a více let: podíl osob očkovaných alespoň 1 dávkou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6810374" y="36659"/>
            <a:ext cx="15335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. 9. 2021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C40225D3-DC79-429E-9E3D-91309D7ADA40}"/>
              </a:ext>
            </a:extLst>
          </p:cNvPr>
          <p:cNvSpPr/>
          <p:nvPr/>
        </p:nvSpPr>
        <p:spPr>
          <a:xfrm>
            <a:off x="9350574" y="1045331"/>
            <a:ext cx="21884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očkovaných osob (%)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4A2DAB93-D997-4EEA-ADF6-06F236A8710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6242"/>
          <a:stretch/>
        </p:blipFill>
        <p:spPr>
          <a:xfrm>
            <a:off x="9822021" y="1322330"/>
            <a:ext cx="303054" cy="1287959"/>
          </a:xfrm>
          <a:prstGeom prst="rect">
            <a:avLst/>
          </a:prstGeom>
        </p:spPr>
      </p:pic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5681AE3D-D17A-4B8E-AA97-42CB7FC69463}"/>
              </a:ext>
            </a:extLst>
          </p:cNvPr>
          <p:cNvGraphicFramePr>
            <a:graphicFrameLocks noGrp="1"/>
          </p:cNvGraphicFramePr>
          <p:nvPr/>
        </p:nvGraphicFramePr>
        <p:xfrm>
          <a:off x="10125075" y="1320209"/>
          <a:ext cx="1200150" cy="1260000"/>
        </p:xfrm>
        <a:graphic>
          <a:graphicData uri="http://schemas.openxmlformats.org/drawingml/2006/table">
            <a:tbl>
              <a:tblPr/>
              <a:tblGrid>
                <a:gridCol w="1200150">
                  <a:extLst>
                    <a:ext uri="{9D8B030D-6E8A-4147-A177-3AD203B41FA5}">
                      <a16:colId xmlns:a16="http://schemas.microsoft.com/office/drawing/2014/main" val="2096772120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52,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758027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00 - 55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560359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00 - 59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309851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00 - 63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39277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= 64,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830636"/>
                  </a:ext>
                </a:extLst>
              </a:tr>
            </a:tbl>
          </a:graphicData>
        </a:graphic>
      </p:graphicFrame>
      <p:sp>
        <p:nvSpPr>
          <p:cNvPr id="4" name="Ovál 3">
            <a:extLst>
              <a:ext uri="{FF2B5EF4-FFF2-40B4-BE49-F238E27FC236}">
                <a16:creationId xmlns:a16="http://schemas.microsoft.com/office/drawing/2014/main" id="{07AC35AB-7A3C-4224-8AE1-E2671CD3C4C0}"/>
              </a:ext>
            </a:extLst>
          </p:cNvPr>
          <p:cNvSpPr/>
          <p:nvPr/>
        </p:nvSpPr>
        <p:spPr>
          <a:xfrm rot="20586233">
            <a:off x="3895754" y="5880226"/>
            <a:ext cx="865705" cy="68060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vál 12">
            <a:extLst>
              <a:ext uri="{FF2B5EF4-FFF2-40B4-BE49-F238E27FC236}">
                <a16:creationId xmlns:a16="http://schemas.microsoft.com/office/drawing/2014/main" id="{1C4F089F-CB53-4CEC-9A39-1552958666A0}"/>
              </a:ext>
            </a:extLst>
          </p:cNvPr>
          <p:cNvSpPr/>
          <p:nvPr/>
        </p:nvSpPr>
        <p:spPr>
          <a:xfrm rot="17325025">
            <a:off x="1385320" y="3290107"/>
            <a:ext cx="562740" cy="1064176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ál 17">
            <a:extLst>
              <a:ext uri="{FF2B5EF4-FFF2-40B4-BE49-F238E27FC236}">
                <a16:creationId xmlns:a16="http://schemas.microsoft.com/office/drawing/2014/main" id="{EC073B69-0F9A-49C5-A99B-12B1BC7F4B3C}"/>
              </a:ext>
            </a:extLst>
          </p:cNvPr>
          <p:cNvSpPr/>
          <p:nvPr/>
        </p:nvSpPr>
        <p:spPr>
          <a:xfrm rot="20312213">
            <a:off x="7634025" y="5114274"/>
            <a:ext cx="719296" cy="467493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ál 18">
            <a:extLst>
              <a:ext uri="{FF2B5EF4-FFF2-40B4-BE49-F238E27FC236}">
                <a16:creationId xmlns:a16="http://schemas.microsoft.com/office/drawing/2014/main" id="{DFBCABFC-FBB5-4272-BB07-21911D7E42CA}"/>
              </a:ext>
            </a:extLst>
          </p:cNvPr>
          <p:cNvSpPr/>
          <p:nvPr/>
        </p:nvSpPr>
        <p:spPr>
          <a:xfrm rot="4593573">
            <a:off x="6527792" y="5524853"/>
            <a:ext cx="754795" cy="871342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ál 20">
            <a:extLst>
              <a:ext uri="{FF2B5EF4-FFF2-40B4-BE49-F238E27FC236}">
                <a16:creationId xmlns:a16="http://schemas.microsoft.com/office/drawing/2014/main" id="{33C87C8C-7540-47FB-83F7-DE43B3D6EB09}"/>
              </a:ext>
            </a:extLst>
          </p:cNvPr>
          <p:cNvSpPr/>
          <p:nvPr/>
        </p:nvSpPr>
        <p:spPr>
          <a:xfrm rot="3883980">
            <a:off x="7625141" y="3100376"/>
            <a:ext cx="789303" cy="1339398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Ovál 21">
            <a:extLst>
              <a:ext uri="{FF2B5EF4-FFF2-40B4-BE49-F238E27FC236}">
                <a16:creationId xmlns:a16="http://schemas.microsoft.com/office/drawing/2014/main" id="{89325D2C-2B5B-4C77-B542-0F7F17C7372D}"/>
              </a:ext>
            </a:extLst>
          </p:cNvPr>
          <p:cNvSpPr/>
          <p:nvPr/>
        </p:nvSpPr>
        <p:spPr>
          <a:xfrm rot="19847785">
            <a:off x="8533635" y="2907366"/>
            <a:ext cx="564964" cy="1221000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Ovál 22">
            <a:extLst>
              <a:ext uri="{FF2B5EF4-FFF2-40B4-BE49-F238E27FC236}">
                <a16:creationId xmlns:a16="http://schemas.microsoft.com/office/drawing/2014/main" id="{5D6CD8FD-096C-4D5E-904A-D17144AD1E61}"/>
              </a:ext>
            </a:extLst>
          </p:cNvPr>
          <p:cNvSpPr/>
          <p:nvPr/>
        </p:nvSpPr>
        <p:spPr>
          <a:xfrm rot="19821519">
            <a:off x="10136833" y="3871805"/>
            <a:ext cx="616719" cy="81302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Ovál 23">
            <a:extLst>
              <a:ext uri="{FF2B5EF4-FFF2-40B4-BE49-F238E27FC236}">
                <a16:creationId xmlns:a16="http://schemas.microsoft.com/office/drawing/2014/main" id="{186552C9-7661-4DCD-9FFE-1A8F89F5F8AD}"/>
              </a:ext>
            </a:extLst>
          </p:cNvPr>
          <p:cNvSpPr/>
          <p:nvPr/>
        </p:nvSpPr>
        <p:spPr>
          <a:xfrm rot="2069632">
            <a:off x="9026269" y="3875069"/>
            <a:ext cx="721251" cy="636841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vál 25">
            <a:extLst>
              <a:ext uri="{FF2B5EF4-FFF2-40B4-BE49-F238E27FC236}">
                <a16:creationId xmlns:a16="http://schemas.microsoft.com/office/drawing/2014/main" id="{9B10F49F-9C7F-42EE-94F0-76696169DAD7}"/>
              </a:ext>
            </a:extLst>
          </p:cNvPr>
          <p:cNvSpPr/>
          <p:nvPr/>
        </p:nvSpPr>
        <p:spPr>
          <a:xfrm rot="19284110">
            <a:off x="7883188" y="2251281"/>
            <a:ext cx="688273" cy="102765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Ovál 26">
            <a:extLst>
              <a:ext uri="{FF2B5EF4-FFF2-40B4-BE49-F238E27FC236}">
                <a16:creationId xmlns:a16="http://schemas.microsoft.com/office/drawing/2014/main" id="{17A33E6A-79CE-4F96-9877-4A5E53E85D08}"/>
              </a:ext>
            </a:extLst>
          </p:cNvPr>
          <p:cNvSpPr/>
          <p:nvPr/>
        </p:nvSpPr>
        <p:spPr>
          <a:xfrm rot="1302254">
            <a:off x="8008192" y="4621097"/>
            <a:ext cx="872066" cy="537084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vál 19">
            <a:extLst>
              <a:ext uri="{FF2B5EF4-FFF2-40B4-BE49-F238E27FC236}">
                <a16:creationId xmlns:a16="http://schemas.microsoft.com/office/drawing/2014/main" id="{FA9195AD-378E-409B-A09E-7AFDA695FC41}"/>
              </a:ext>
            </a:extLst>
          </p:cNvPr>
          <p:cNvSpPr/>
          <p:nvPr/>
        </p:nvSpPr>
        <p:spPr>
          <a:xfrm rot="2187176">
            <a:off x="7363300" y="2718127"/>
            <a:ext cx="574884" cy="119571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Ovál 27">
            <a:extLst>
              <a:ext uri="{FF2B5EF4-FFF2-40B4-BE49-F238E27FC236}">
                <a16:creationId xmlns:a16="http://schemas.microsoft.com/office/drawing/2014/main" id="{41D1762C-0EB0-4924-AF24-ECF9FDB000D9}"/>
              </a:ext>
            </a:extLst>
          </p:cNvPr>
          <p:cNvSpPr/>
          <p:nvPr/>
        </p:nvSpPr>
        <p:spPr>
          <a:xfrm rot="1740866">
            <a:off x="9367653" y="4323237"/>
            <a:ext cx="589703" cy="125211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Ovál 24">
            <a:extLst>
              <a:ext uri="{FF2B5EF4-FFF2-40B4-BE49-F238E27FC236}">
                <a16:creationId xmlns:a16="http://schemas.microsoft.com/office/drawing/2014/main" id="{B95FAD5C-2693-43BE-8951-0031DF9ACE3E}"/>
              </a:ext>
            </a:extLst>
          </p:cNvPr>
          <p:cNvSpPr/>
          <p:nvPr/>
        </p:nvSpPr>
        <p:spPr>
          <a:xfrm rot="17862258">
            <a:off x="1590920" y="3882307"/>
            <a:ext cx="673558" cy="1067061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Ovál 28">
            <a:extLst>
              <a:ext uri="{FF2B5EF4-FFF2-40B4-BE49-F238E27FC236}">
                <a16:creationId xmlns:a16="http://schemas.microsoft.com/office/drawing/2014/main" id="{A618958D-7CA7-44C3-8E63-8D05D2E224A9}"/>
              </a:ext>
            </a:extLst>
          </p:cNvPr>
          <p:cNvSpPr/>
          <p:nvPr/>
        </p:nvSpPr>
        <p:spPr>
          <a:xfrm rot="3133033">
            <a:off x="1213768" y="1912344"/>
            <a:ext cx="379772" cy="1189167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Ovál 29">
            <a:extLst>
              <a:ext uri="{FF2B5EF4-FFF2-40B4-BE49-F238E27FC236}">
                <a16:creationId xmlns:a16="http://schemas.microsoft.com/office/drawing/2014/main" id="{0529D0CD-E71F-4F2B-8B42-DFF12E8D6F8B}"/>
              </a:ext>
            </a:extLst>
          </p:cNvPr>
          <p:cNvSpPr/>
          <p:nvPr/>
        </p:nvSpPr>
        <p:spPr>
          <a:xfrm rot="989510">
            <a:off x="5082091" y="955527"/>
            <a:ext cx="600479" cy="291934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Ovál 30">
            <a:extLst>
              <a:ext uri="{FF2B5EF4-FFF2-40B4-BE49-F238E27FC236}">
                <a16:creationId xmlns:a16="http://schemas.microsoft.com/office/drawing/2014/main" id="{B4F8DA78-77CB-47F9-85FD-2B4C1EA2992B}"/>
              </a:ext>
            </a:extLst>
          </p:cNvPr>
          <p:cNvSpPr/>
          <p:nvPr/>
        </p:nvSpPr>
        <p:spPr>
          <a:xfrm rot="323225">
            <a:off x="4030531" y="864139"/>
            <a:ext cx="600479" cy="291934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vál 31">
            <a:extLst>
              <a:ext uri="{FF2B5EF4-FFF2-40B4-BE49-F238E27FC236}">
                <a16:creationId xmlns:a16="http://schemas.microsoft.com/office/drawing/2014/main" id="{8DECB618-BD91-46F7-9927-00D144F603FF}"/>
              </a:ext>
            </a:extLst>
          </p:cNvPr>
          <p:cNvSpPr/>
          <p:nvPr/>
        </p:nvSpPr>
        <p:spPr>
          <a:xfrm rot="2770861">
            <a:off x="5681853" y="1792102"/>
            <a:ext cx="803185" cy="439986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Ovál 32">
            <a:extLst>
              <a:ext uri="{FF2B5EF4-FFF2-40B4-BE49-F238E27FC236}">
                <a16:creationId xmlns:a16="http://schemas.microsoft.com/office/drawing/2014/main" id="{F1A95C57-2B89-4F67-A2D4-CCAFCAF88A2F}"/>
              </a:ext>
            </a:extLst>
          </p:cNvPr>
          <p:cNvSpPr/>
          <p:nvPr/>
        </p:nvSpPr>
        <p:spPr>
          <a:xfrm>
            <a:off x="4181349" y="1644719"/>
            <a:ext cx="914901" cy="519524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Ovál 34">
            <a:extLst>
              <a:ext uri="{FF2B5EF4-FFF2-40B4-BE49-F238E27FC236}">
                <a16:creationId xmlns:a16="http://schemas.microsoft.com/office/drawing/2014/main" id="{C7FBDA8C-FB29-495D-941B-057367459C2B}"/>
              </a:ext>
            </a:extLst>
          </p:cNvPr>
          <p:cNvSpPr/>
          <p:nvPr/>
        </p:nvSpPr>
        <p:spPr>
          <a:xfrm rot="20312213">
            <a:off x="8551534" y="5687143"/>
            <a:ext cx="838097" cy="37753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Ovál 35">
            <a:extLst>
              <a:ext uri="{FF2B5EF4-FFF2-40B4-BE49-F238E27FC236}">
                <a16:creationId xmlns:a16="http://schemas.microsoft.com/office/drawing/2014/main" id="{FD14F9F0-D172-4E63-9EE9-6CBC27EF1182}"/>
              </a:ext>
            </a:extLst>
          </p:cNvPr>
          <p:cNvSpPr/>
          <p:nvPr/>
        </p:nvSpPr>
        <p:spPr>
          <a:xfrm rot="18687976">
            <a:off x="2783120" y="1935903"/>
            <a:ext cx="811075" cy="435167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Ovál 36">
            <a:extLst>
              <a:ext uri="{FF2B5EF4-FFF2-40B4-BE49-F238E27FC236}">
                <a16:creationId xmlns:a16="http://schemas.microsoft.com/office/drawing/2014/main" id="{691A4411-1B83-4F77-A71C-464C373E62C5}"/>
              </a:ext>
            </a:extLst>
          </p:cNvPr>
          <p:cNvSpPr/>
          <p:nvPr/>
        </p:nvSpPr>
        <p:spPr>
          <a:xfrm rot="18190900">
            <a:off x="5654972" y="5185540"/>
            <a:ext cx="597362" cy="921043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Ovál 37">
            <a:extLst>
              <a:ext uri="{FF2B5EF4-FFF2-40B4-BE49-F238E27FC236}">
                <a16:creationId xmlns:a16="http://schemas.microsoft.com/office/drawing/2014/main" id="{70FA7B0C-4500-4DA8-8272-8929B24F0B65}"/>
              </a:ext>
            </a:extLst>
          </p:cNvPr>
          <p:cNvSpPr/>
          <p:nvPr/>
        </p:nvSpPr>
        <p:spPr>
          <a:xfrm rot="1584540">
            <a:off x="5234012" y="2291678"/>
            <a:ext cx="600479" cy="387166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Ovál 38">
            <a:extLst>
              <a:ext uri="{FF2B5EF4-FFF2-40B4-BE49-F238E27FC236}">
                <a16:creationId xmlns:a16="http://schemas.microsoft.com/office/drawing/2014/main" id="{970E46AE-7D93-4FA5-A2F5-E995F8EAA228}"/>
              </a:ext>
            </a:extLst>
          </p:cNvPr>
          <p:cNvSpPr/>
          <p:nvPr/>
        </p:nvSpPr>
        <p:spPr>
          <a:xfrm rot="1753858">
            <a:off x="8702855" y="4513606"/>
            <a:ext cx="850905" cy="49521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Ovál 39">
            <a:extLst>
              <a:ext uri="{FF2B5EF4-FFF2-40B4-BE49-F238E27FC236}">
                <a16:creationId xmlns:a16="http://schemas.microsoft.com/office/drawing/2014/main" id="{0A25190F-69A3-45DF-8514-2ECD321BE43B}"/>
              </a:ext>
            </a:extLst>
          </p:cNvPr>
          <p:cNvSpPr/>
          <p:nvPr/>
        </p:nvSpPr>
        <p:spPr>
          <a:xfrm rot="6312015">
            <a:off x="6667000" y="2758116"/>
            <a:ext cx="695330" cy="533330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1" i="0" u="none" strike="noStrike" kern="1200" cap="none" spc="0" normalizeH="0" baseline="0" noProof="0" dirty="0">
              <a:ln>
                <a:noFill/>
              </a:ln>
              <a:solidFill>
                <a:srgbClr val="00FF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31170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4E59AD7D-3911-4338-A760-4E469F7FCE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576001"/>
            <a:ext cx="11629002" cy="6281999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910" y="0"/>
            <a:ext cx="7434501" cy="576000"/>
          </a:xfrm>
        </p:spPr>
        <p:txBody>
          <a:bodyPr/>
          <a:lstStyle/>
          <a:p>
            <a:r>
              <a:rPr lang="cs-CZ" dirty="0"/>
              <a:t>60 a více let: podíl osob očkovaných alespoň 1 dávkou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6810374" y="36659"/>
            <a:ext cx="15335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. 9. 2021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0460B3C2-5413-462F-940C-0A7AA6AF91D0}"/>
              </a:ext>
            </a:extLst>
          </p:cNvPr>
          <p:cNvSpPr/>
          <p:nvPr/>
        </p:nvSpPr>
        <p:spPr>
          <a:xfrm>
            <a:off x="9350574" y="1045331"/>
            <a:ext cx="21884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očkovaných osob (%)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AE629004-F1F0-4526-9639-0EF090BE594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6242"/>
          <a:stretch/>
        </p:blipFill>
        <p:spPr>
          <a:xfrm>
            <a:off x="9822021" y="1322330"/>
            <a:ext cx="303054" cy="1287959"/>
          </a:xfrm>
          <a:prstGeom prst="rect">
            <a:avLst/>
          </a:prstGeom>
        </p:spPr>
      </p:pic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96DF4556-C51C-4878-849C-6165548303FF}"/>
              </a:ext>
            </a:extLst>
          </p:cNvPr>
          <p:cNvGraphicFramePr>
            <a:graphicFrameLocks noGrp="1"/>
          </p:cNvGraphicFramePr>
          <p:nvPr/>
        </p:nvGraphicFramePr>
        <p:xfrm>
          <a:off x="10125075" y="1320209"/>
          <a:ext cx="1200150" cy="1260000"/>
        </p:xfrm>
        <a:graphic>
          <a:graphicData uri="http://schemas.openxmlformats.org/drawingml/2006/table">
            <a:tbl>
              <a:tblPr/>
              <a:tblGrid>
                <a:gridCol w="1200150">
                  <a:extLst>
                    <a:ext uri="{9D8B030D-6E8A-4147-A177-3AD203B41FA5}">
                      <a16:colId xmlns:a16="http://schemas.microsoft.com/office/drawing/2014/main" val="2096772120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,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758027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00 - 74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560359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00 - 79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309851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00 - 84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39277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= 85,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8306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98946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350199" y="1509828"/>
            <a:ext cx="11491601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0" indent="-4572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cs-CZ" sz="20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jistit maximální možnou proočkovanost potenciálně zranitelných skupin obyvatel, chronicky nemocných a seniorů (kde v kategorii 60+ stále není očkováno téměř 20% osob), zaměřit pozornost na odlehlé lokality a oblasti s nízkou proočkovaností ve více obcích.</a:t>
            </a:r>
          </a:p>
          <a:p>
            <a:pPr marL="457200" marR="0" lvl="0" indent="-4572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cs-CZ" sz="2000" b="1" dirty="0">
              <a:latin typeface="Calibri" panose="020F0502020204030204"/>
            </a:endParaRPr>
          </a:p>
          <a:p>
            <a:pPr marL="457200" marR="0" lvl="0" indent="-4572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cs-CZ" sz="20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jistit adekvátní preventivní opatření chránící sociální, zdravotně sociální a zdravotnická zařízení před šířením nákazy, zejména tlakem na maximální možnou proočkovanost personálu těchto zařízení.</a:t>
            </a:r>
          </a:p>
          <a:p>
            <a:pPr marL="457200" marR="0" lvl="0" indent="-4572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cs-CZ" sz="2000" b="1" dirty="0">
              <a:latin typeface="Calibri" panose="020F0502020204030204"/>
            </a:endParaRPr>
          </a:p>
          <a:p>
            <a:pPr marL="457200" marR="0" lvl="0" indent="-4572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cs-CZ" sz="20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jistit maximální možnou proočkovanost věkových skupin mladých lidí a osob v nižším středním věku, ve kterých se v létě virus nejvíce šíří právě v důsledku nízkého počtu očkovaných.</a:t>
            </a:r>
          </a:p>
          <a:p>
            <a:pPr marL="457200" marR="0" lvl="0" indent="-4572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cs-CZ" sz="2000" b="1" dirty="0">
              <a:latin typeface="Calibri" panose="020F0502020204030204"/>
            </a:endParaRPr>
          </a:p>
          <a:p>
            <a:pPr marL="457200" marR="0" lvl="0" indent="-4572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cs-CZ" sz="20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jistit efektivní řešení případů s hlášeným podezřením na nové mutace a varianty viru, v asociaci s rizikem importu nákazy ze zahraničí. </a:t>
            </a:r>
          </a:p>
          <a:p>
            <a:pPr marL="457200" marR="0" lvl="0" indent="-4572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cs-CZ" sz="2000" b="1" dirty="0">
              <a:latin typeface="Calibri" panose="020F0502020204030204"/>
            </a:endParaRPr>
          </a:p>
          <a:p>
            <a:pPr marL="457200" marR="0" lvl="0" indent="-4572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cs-CZ" sz="2000" b="1" i="0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jistit účinnou kontrolu přijatých opatření, zejména kontrolu nařízených karantén a izolací pozitivně testovaných osob. </a:t>
            </a:r>
            <a:endParaRPr kumimoji="0" lang="cs-CZ" sz="2000" b="1" i="0" u="sng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83653" y="211731"/>
            <a:ext cx="11618346" cy="6286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HRN: zásadní opatření směřující k minimalizaci rizik v podzimních měsících </a:t>
            </a:r>
          </a:p>
        </p:txBody>
      </p:sp>
    </p:spTree>
    <p:extLst>
      <p:ext uri="{BB962C8B-B14F-4D97-AF65-F5344CB8AC3E}">
        <p14:creationId xmlns:p14="http://schemas.microsoft.com/office/powerpoint/2010/main" val="15012145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/>
          </a:bodyPr>
          <a:lstStyle/>
          <a:p>
            <a:r>
              <a:rPr lang="cs-CZ" sz="5200" b="1" dirty="0"/>
              <a:t>Modelové predikce dle různých scénářů kalkulujících s různým postupem vakcinace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36191039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69682" y="123898"/>
            <a:ext cx="11886453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ouhodobé predikce vychází z původního modelu SEIR, který byl pro epidemii COVID-19 v ČR adaptován na počátku dubna 2020. </a:t>
            </a:r>
            <a:r>
              <a:rPr kumimoji="0" lang="cs-CZ" sz="220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ro rizikový vývoj vyvolaný nárůstem rizikových kontaktů nebo zvýšením reprodukční dynamiky nákazy (virtuální efekt případného opětovného uvolnění nebo efekt šíření nakažlivějších forem viru)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004226" y="6248477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195887" y="2226121"/>
            <a:ext cx="1153766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byl na počátku roku 2021 doplněn o komponentu Vakcinace (Model SEIR</a:t>
            </a:r>
            <a:r>
              <a:rPr kumimoji="0" lang="cs-CZ" sz="200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 – tedy stav po očkování, přičemž predikce pracují s různě nastavitelným ochranným efektem vakcinace (plná ochrana již s odstupem po 1. dávce je nejvýznamnější efekt), s možnou ztrátou ochrany v čase nebo v důsledku šíření nových nakažlivějších variant viru. </a:t>
            </a:r>
          </a:p>
        </p:txBody>
      </p:sp>
      <p:sp>
        <p:nvSpPr>
          <p:cNvPr id="6" name="Obdélník 5"/>
          <p:cNvSpPr/>
          <p:nvPr/>
        </p:nvSpPr>
        <p:spPr>
          <a:xfrm>
            <a:off x="14457" y="3775939"/>
            <a:ext cx="1160647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y uvažují věkově specifické počty vakcin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e reálných dat ISIN a dle nich pracují s projekcí počtu očkovaných pro budoucí simulace. Jedinec dosáhne ochrany před nákazou až s časovým odstupem po druhé dávce (pomalý scénář) nebo při první dávce (rychlý scénář), přičemž se předpokládá i ochrana před možností přenášet infekci. Jedinci přecházejí ze stavů S a R proporčně do stavu V (očkovaní jsou i jedinci s prodělanou infekcí v minulosti – tyto skupiny nejsou vzájemně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juktní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. Různé scénáře simulují podmínky šíření Delta varianty viru během letních měsíců (simulace byla zahájena pro významný start šíření po 20.6.). </a:t>
            </a:r>
            <a:r>
              <a:rPr lang="cs-CZ" dirty="0">
                <a:solidFill>
                  <a:srgbClr val="000000"/>
                </a:solidFill>
                <a:latin typeface="Arial" panose="020B0604020202020204"/>
              </a:rPr>
              <a:t>Navazující pravděpodobnostní a stavové modely predikují z vývoje prevalenční zátěže riziko zátěže nemocnic – do těchto modelů vstupují i rizikové faktory související se zranitelností různých skupin populace.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Šipka dolů 4">
            <a:extLst>
              <a:ext uri="{FF2B5EF4-FFF2-40B4-BE49-F238E27FC236}">
                <a16:creationId xmlns:a16="http://schemas.microsoft.com/office/drawing/2014/main" id="{902FF170-127D-4BBB-9AB4-F9DB6E719F36}"/>
              </a:ext>
            </a:extLst>
          </p:cNvPr>
          <p:cNvSpPr/>
          <p:nvPr/>
        </p:nvSpPr>
        <p:spPr>
          <a:xfrm>
            <a:off x="5004227" y="1686787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24117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51570"/>
            <a:ext cx="9229366" cy="707886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héma stavového modelu SEI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ro dlouhodobé simulac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 </a:t>
            </a:r>
            <a:r>
              <a:rPr kumimoji="0" lang="en-US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padem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</a:t>
            </a:r>
            <a:r>
              <a:rPr kumimoji="0" lang="cs-CZ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2B04E69E-696B-426D-92D2-95AD65B197D7}"/>
              </a:ext>
            </a:extLst>
          </p:cNvPr>
          <p:cNvSpPr/>
          <p:nvPr/>
        </p:nvSpPr>
        <p:spPr>
          <a:xfrm>
            <a:off x="1082695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chylní jedinci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063A768-01D3-4A56-8BBA-28DED35E1CE0}"/>
              </a:ext>
            </a:extLst>
          </p:cNvPr>
          <p:cNvSpPr/>
          <p:nvPr/>
        </p:nvSpPr>
        <p:spPr>
          <a:xfrm>
            <a:off x="3824400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onovaní jedinci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BADCA929-8F51-4A46-84F0-4EE1E7912B1C}"/>
              </a:ext>
            </a:extLst>
          </p:cNvPr>
          <p:cNvSpPr/>
          <p:nvPr/>
        </p:nvSpPr>
        <p:spPr>
          <a:xfrm>
            <a:off x="6566105" y="1689064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znaky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6AD42F47-49DC-4AF9-9274-1EA0FEA16506}"/>
              </a:ext>
            </a:extLst>
          </p:cNvPr>
          <p:cNvSpPr/>
          <p:nvPr/>
        </p:nvSpPr>
        <p:spPr>
          <a:xfrm>
            <a:off x="9439289" y="270142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zolovaní jedinci</a:t>
            </a:r>
          </a:p>
        </p:txBody>
      </p:sp>
      <p:sp>
        <p:nvSpPr>
          <p:cNvPr id="22" name="Šipka: doprava 44">
            <a:extLst>
              <a:ext uri="{FF2B5EF4-FFF2-40B4-BE49-F238E27FC236}">
                <a16:creationId xmlns:a16="http://schemas.microsoft.com/office/drawing/2014/main" id="{4C13D826-2505-4EE1-82AE-F4AB7726E1B5}"/>
              </a:ext>
            </a:extLst>
          </p:cNvPr>
          <p:cNvSpPr/>
          <p:nvPr/>
        </p:nvSpPr>
        <p:spPr>
          <a:xfrm>
            <a:off x="3134865" y="3033120"/>
            <a:ext cx="54684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B14B0F29-42EE-4449-8FA0-2FFCC0E7A5D6}"/>
              </a:ext>
            </a:extLst>
          </p:cNvPr>
          <p:cNvSpPr/>
          <p:nvPr/>
        </p:nvSpPr>
        <p:spPr>
          <a:xfrm>
            <a:off x="6566105" y="3736200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příznakoví</a:t>
            </a:r>
          </a:p>
        </p:txBody>
      </p:sp>
      <p:sp>
        <p:nvSpPr>
          <p:cNvPr id="26" name="Šipka: doprava 46">
            <a:extLst>
              <a:ext uri="{FF2B5EF4-FFF2-40B4-BE49-F238E27FC236}">
                <a16:creationId xmlns:a16="http://schemas.microsoft.com/office/drawing/2014/main" id="{D213C4CF-884A-47FE-9932-16FB105C4037}"/>
              </a:ext>
            </a:extLst>
          </p:cNvPr>
          <p:cNvSpPr/>
          <p:nvPr/>
        </p:nvSpPr>
        <p:spPr>
          <a:xfrm>
            <a:off x="5827330" y="2015627"/>
            <a:ext cx="738776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Šipka: doprava 47">
            <a:extLst>
              <a:ext uri="{FF2B5EF4-FFF2-40B4-BE49-F238E27FC236}">
                <a16:creationId xmlns:a16="http://schemas.microsoft.com/office/drawing/2014/main" id="{608B85F7-5E22-4599-8F4E-6A61635A808E}"/>
              </a:ext>
            </a:extLst>
          </p:cNvPr>
          <p:cNvSpPr/>
          <p:nvPr/>
        </p:nvSpPr>
        <p:spPr>
          <a:xfrm>
            <a:off x="5827328" y="4055094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A1F9FDF5-109A-473A-86F7-AE70B59EEBF0}"/>
              </a:ext>
            </a:extLst>
          </p:cNvPr>
          <p:cNvSpPr/>
          <p:nvPr/>
        </p:nvSpPr>
        <p:spPr>
          <a:xfrm>
            <a:off x="5827329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49">
            <a:extLst>
              <a:ext uri="{FF2B5EF4-FFF2-40B4-BE49-F238E27FC236}">
                <a16:creationId xmlns:a16="http://schemas.microsoft.com/office/drawing/2014/main" id="{10587047-838E-48F4-9F92-8CBF3AB25FF0}"/>
              </a:ext>
            </a:extLst>
          </p:cNvPr>
          <p:cNvSpPr/>
          <p:nvPr/>
        </p:nvSpPr>
        <p:spPr>
          <a:xfrm>
            <a:off x="8610864" y="2990538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054974A4-DA60-4490-9AAD-3973AAACF2C2}"/>
              </a:ext>
            </a:extLst>
          </p:cNvPr>
          <p:cNvSpPr/>
          <p:nvPr/>
        </p:nvSpPr>
        <p:spPr>
          <a:xfrm>
            <a:off x="8610865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E7E001D-0B75-40E0-AAE6-7132D90F7EA2}"/>
              </a:ext>
            </a:extLst>
          </p:cNvPr>
          <p:cNvSpPr txBox="1"/>
          <p:nvPr/>
        </p:nvSpPr>
        <p:spPr>
          <a:xfrm>
            <a:off x="729454" y="1430123"/>
            <a:ext cx="2935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ost onemocně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tnost kontak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infekčních jedinců 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F44768C-5FDA-4214-A558-285F9A9BD9CE}"/>
              </a:ext>
            </a:extLst>
          </p:cNvPr>
          <p:cNvSpPr txBox="1"/>
          <p:nvPr/>
        </p:nvSpPr>
        <p:spPr>
          <a:xfrm>
            <a:off x="3487540" y="1663657"/>
            <a:ext cx="29351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latentního období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o nákaze, před infekčností)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915E3A6-2C83-4C2A-9CE0-5284C9CD8F0D}"/>
              </a:ext>
            </a:extLst>
          </p:cNvPr>
          <p:cNvSpPr txBox="1"/>
          <p:nvPr/>
        </p:nvSpPr>
        <p:spPr>
          <a:xfrm>
            <a:off x="6326350" y="2755231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bezpříznakových jedinců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C9FA024-5E59-4474-9F8F-D201213190EE}"/>
              </a:ext>
            </a:extLst>
          </p:cNvPr>
          <p:cNvSpPr txBox="1"/>
          <p:nvPr/>
        </p:nvSpPr>
        <p:spPr>
          <a:xfrm>
            <a:off x="8762459" y="1707122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infekčního období/rychlost izolace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03E6A01B-C785-4E5E-A264-0E817822A778}"/>
              </a:ext>
            </a:extLst>
          </p:cNvPr>
          <p:cNvSpPr txBox="1"/>
          <p:nvPr/>
        </p:nvSpPr>
        <p:spPr>
          <a:xfrm>
            <a:off x="6179868" y="932247"/>
            <a:ext cx="5074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POČÍTÁNÍ MEZI PŘÍPADY (JEN SYMPTOMATIČTÍ)</a:t>
            </a:r>
          </a:p>
        </p:txBody>
      </p:sp>
      <p:sp>
        <p:nvSpPr>
          <p:cNvPr id="38" name="Šipka: dolů 56">
            <a:extLst>
              <a:ext uri="{FF2B5EF4-FFF2-40B4-BE49-F238E27FC236}">
                <a16:creationId xmlns:a16="http://schemas.microsoft.com/office/drawing/2014/main" id="{782C6E6F-542D-452F-93BB-94B4C05288A8}"/>
              </a:ext>
            </a:extLst>
          </p:cNvPr>
          <p:cNvSpPr/>
          <p:nvPr/>
        </p:nvSpPr>
        <p:spPr>
          <a:xfrm>
            <a:off x="8509197" y="1339569"/>
            <a:ext cx="415367" cy="367553"/>
          </a:xfrm>
          <a:prstGeom prst="downArrow">
            <a:avLst/>
          </a:prstGeom>
          <a:solidFill>
            <a:srgbClr val="D311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DDCAC9A8-B998-4990-8433-32D07C5EAEB7}"/>
              </a:ext>
            </a:extLst>
          </p:cNvPr>
          <p:cNvSpPr/>
          <p:nvPr/>
        </p:nvSpPr>
        <p:spPr>
          <a:xfrm>
            <a:off x="9439289" y="4938026"/>
            <a:ext cx="1909483" cy="101301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aní jedinci</a:t>
            </a:r>
          </a:p>
        </p:txBody>
      </p:sp>
      <p:sp>
        <p:nvSpPr>
          <p:cNvPr id="40" name="Šipka: doprava 20">
            <a:extLst>
              <a:ext uri="{FF2B5EF4-FFF2-40B4-BE49-F238E27FC236}">
                <a16:creationId xmlns:a16="http://schemas.microsoft.com/office/drawing/2014/main" id="{A41BEF73-7A63-410D-95FD-7BD1E2D4B038}"/>
              </a:ext>
            </a:extLst>
          </p:cNvPr>
          <p:cNvSpPr/>
          <p:nvPr/>
        </p:nvSpPr>
        <p:spPr>
          <a:xfrm>
            <a:off x="1804832" y="5210447"/>
            <a:ext cx="7525177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Šipka: doprava 21">
            <a:extLst>
              <a:ext uri="{FF2B5EF4-FFF2-40B4-BE49-F238E27FC236}">
                <a16:creationId xmlns:a16="http://schemas.microsoft.com/office/drawing/2014/main" id="{31B8BC44-7A01-4824-9AED-DF040E9F9BA2}"/>
              </a:ext>
            </a:extLst>
          </p:cNvPr>
          <p:cNvSpPr/>
          <p:nvPr/>
        </p:nvSpPr>
        <p:spPr>
          <a:xfrm rot="5400000">
            <a:off x="9887524" y="4124044"/>
            <a:ext cx="1013009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74FC45F5-50A9-43F3-8CE1-BEE500BD193E}"/>
              </a:ext>
            </a:extLst>
          </p:cNvPr>
          <p:cNvSpPr/>
          <p:nvPr/>
        </p:nvSpPr>
        <p:spPr>
          <a:xfrm>
            <a:off x="1800678" y="3801316"/>
            <a:ext cx="191929" cy="167214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59AD60A5-4AFD-463C-8D2A-104E5B3F5610}"/>
              </a:ext>
            </a:extLst>
          </p:cNvPr>
          <p:cNvSpPr txBox="1"/>
          <p:nvPr/>
        </p:nvSpPr>
        <p:spPr>
          <a:xfrm>
            <a:off x="2070275" y="4846884"/>
            <a:ext cx="2935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čkovaných jedinců</a:t>
            </a:r>
          </a:p>
        </p:txBody>
      </p:sp>
      <p:sp>
        <p:nvSpPr>
          <p:cNvPr id="44" name="Obdélník 43"/>
          <p:cNvSpPr/>
          <p:nvPr/>
        </p:nvSpPr>
        <p:spPr>
          <a:xfrm>
            <a:off x="246823" y="6081610"/>
            <a:ext cx="11537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likace nového modelu s vakcinací vysvětluje rychlejší zpomalování epidemie</a:t>
            </a:r>
          </a:p>
        </p:txBody>
      </p:sp>
    </p:spTree>
    <p:extLst>
      <p:ext uri="{BB962C8B-B14F-4D97-AF65-F5344CB8AC3E}">
        <p14:creationId xmlns:p14="http://schemas.microsoft.com/office/powerpoint/2010/main" val="28598622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101600"/>
            <a:ext cx="6507332" cy="1305016"/>
          </a:xfrm>
        </p:spPr>
        <p:txBody>
          <a:bodyPr/>
          <a:lstStyle/>
          <a:p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Scénáře pro dlouhodobé simulace zahrnující efekt vakcinace </a:t>
            </a:r>
          </a:p>
        </p:txBody>
      </p:sp>
      <p:sp>
        <p:nvSpPr>
          <p:cNvPr id="7" name="Zástupný obsah 3">
            <a:extLst>
              <a:ext uri="{FF2B5EF4-FFF2-40B4-BE49-F238E27FC236}">
                <a16:creationId xmlns:a16="http://schemas.microsoft.com/office/drawing/2014/main" id="{0D560AAE-4E15-4CF5-A76C-2680DC9E6E52}"/>
              </a:ext>
            </a:extLst>
          </p:cNvPr>
          <p:cNvSpPr txBox="1">
            <a:spLocks/>
          </p:cNvSpPr>
          <p:nvPr/>
        </p:nvSpPr>
        <p:spPr>
          <a:xfrm>
            <a:off x="381740" y="1332872"/>
            <a:ext cx="11810260" cy="556867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e dlouhodobých simulací z května - června 2021: </a:t>
            </a:r>
            <a:r>
              <a:rPr lang="cs-CZ" sz="1600" b="1" dirty="0">
                <a:solidFill>
                  <a:srgbClr val="33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časný vývoj epidemie stále potvrzuje optimistické scénáře, které předpokládají brždění šíření nákazy posílené o významná efekt postupující vakcinace. Do těchto dat se ale promítá i efekt sezónnosti, který může maskovat rizikový potenciál. Rostoucí počet nových nákaz v populaci z počátku července naznačil stále existující potenciál k zhoršení situace, jistě v důsledku šíření nové varianty viru. Proto jsou v modelech zpracovány i rizikové scénáře vývoje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buClrTx/>
              <a:buNone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 – optimistický, šíření nakažlivější varianty viru kontrolované populační imunitou.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pracující s šířením nové varianty viru unikající částečně vakcinaci (20%), avšak s optimistickou projekcí postupu vakcinace. Scénář kalkuluje s rychlým postupem vakcinace a s jejím dlouhodobě trvalým ochranným efektem proti nové variantě viru. Scénář předpokládá dosažení minimálně 70% - 80% proočkovanosti populace 16+ do konce srpna.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- realistický.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změna situace daná šířením nové varianty viru unikající částečně vakcinac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0% únik po 1. dávce)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z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roveň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ykazující zvýšenou přenosnost (nárůst bazální reprodukce o &gt; 20%). Scénář realisticky předpokládá sníženou proočkovanost (cca 60%) u populace 16+ do konce srpna. Scénář předpokládá trvalý efekt ochrany dokončeným očkováním i u většiny zranitelných a seniorních populačních skupin.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I – vysoce rizikový.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á změna situace daná šířením nové varianty viru  významně unikající vakcinac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z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roveň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ykazující zvýšenou přenosnost (nárůst bazální reprodukce minimálně o &gt; 20%), šíření mezi zranitelnými skupinami obyvatel. Nedostatečná proočkovanost (&lt; 60% v populaci 16+), částečná ztráta (vyprchání) ochrany dokončeným očkováním i u zranitelných a seniorních populačních skupin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35939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/>
          </a:bodyPr>
          <a:lstStyle/>
          <a:p>
            <a:r>
              <a:rPr lang="cs-CZ" sz="5200" b="1" dirty="0"/>
              <a:t>Aktuální stav hlavních indikátorů vývoje dle </a:t>
            </a:r>
            <a:r>
              <a:rPr lang="cs-CZ" sz="5200" b="1"/>
              <a:t>nastavených scénářů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42790597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/>
          </a:bodyPr>
          <a:lstStyle/>
          <a:p>
            <a:r>
              <a:rPr lang="cs-CZ" sz="5200" b="1" dirty="0"/>
              <a:t>SOUHRN 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18855302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69682" y="109436"/>
            <a:ext cx="118864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FAKTORY </a:t>
            </a:r>
            <a:r>
              <a:rPr lang="cs-CZ" sz="3600" b="1" kern="0" dirty="0">
                <a:solidFill>
                  <a:prstClr val="black"/>
                </a:solidFill>
                <a:latin typeface="Calibri" panose="020F0502020204030204"/>
              </a:rPr>
              <a:t>určující různé scénáře</a:t>
            </a:r>
            <a:endParaRPr kumimoji="0" lang="cs-CZ" sz="3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bdélník 5"/>
          <p:cNvSpPr/>
          <p:nvPr/>
        </p:nvSpPr>
        <p:spPr>
          <a:xfrm>
            <a:off x="179704" y="2653470"/>
            <a:ext cx="2659968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vládá nová varianta viru s vyšší nakažlivostí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prstClr val="black"/>
                </a:solidFill>
                <a:latin typeface="Calibri" panose="020F0502020204030204"/>
              </a:rPr>
              <a:t>(až + 40% v základní reprodukci)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" name="Přímá spojnice se šipkou 6">
            <a:extLst>
              <a:ext uri="{FF2B5EF4-FFF2-40B4-BE49-F238E27FC236}">
                <a16:creationId xmlns:a16="http://schemas.microsoft.com/office/drawing/2014/main" id="{C761F875-9022-4DD4-B12B-EEC2C523F670}"/>
              </a:ext>
            </a:extLst>
          </p:cNvPr>
          <p:cNvCxnSpPr>
            <a:cxnSpLocks/>
          </p:cNvCxnSpPr>
          <p:nvPr/>
        </p:nvCxnSpPr>
        <p:spPr>
          <a:xfrm flipV="1">
            <a:off x="2318675" y="1700799"/>
            <a:ext cx="941832" cy="877824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bdélník 10">
            <a:extLst>
              <a:ext uri="{FF2B5EF4-FFF2-40B4-BE49-F238E27FC236}">
                <a16:creationId xmlns:a16="http://schemas.microsoft.com/office/drawing/2014/main" id="{B6816809-E6B2-40E8-A88F-482EFC11C691}"/>
              </a:ext>
            </a:extLst>
          </p:cNvPr>
          <p:cNvSpPr/>
          <p:nvPr/>
        </p:nvSpPr>
        <p:spPr>
          <a:xfrm>
            <a:off x="3323988" y="1042523"/>
            <a:ext cx="28072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ká proočkovanost (&gt; 70% v populaci 16+)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se šipkou 11">
            <a:extLst>
              <a:ext uri="{FF2B5EF4-FFF2-40B4-BE49-F238E27FC236}">
                <a16:creationId xmlns:a16="http://schemas.microsoft.com/office/drawing/2014/main" id="{F51E17BE-248B-4509-9438-6959117E005A}"/>
              </a:ext>
            </a:extLst>
          </p:cNvPr>
          <p:cNvCxnSpPr>
            <a:cxnSpLocks/>
          </p:cNvCxnSpPr>
          <p:nvPr/>
        </p:nvCxnSpPr>
        <p:spPr>
          <a:xfrm>
            <a:off x="6075959" y="1421011"/>
            <a:ext cx="343044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bdélník 13">
            <a:extLst>
              <a:ext uri="{FF2B5EF4-FFF2-40B4-BE49-F238E27FC236}">
                <a16:creationId xmlns:a16="http://schemas.microsoft.com/office/drawing/2014/main" id="{BFEBA185-561D-4345-9FBF-0D7C89550C2A}"/>
              </a:ext>
            </a:extLst>
          </p:cNvPr>
          <p:cNvSpPr/>
          <p:nvPr/>
        </p:nvSpPr>
        <p:spPr>
          <a:xfrm>
            <a:off x="6533941" y="1014232"/>
            <a:ext cx="28072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Účinná ochrana zranitelných skupin*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Šipka: doprava 14">
            <a:extLst>
              <a:ext uri="{FF2B5EF4-FFF2-40B4-BE49-F238E27FC236}">
                <a16:creationId xmlns:a16="http://schemas.microsoft.com/office/drawing/2014/main" id="{EFFDF52B-B308-4346-B8D7-642BFEF42616}"/>
              </a:ext>
            </a:extLst>
          </p:cNvPr>
          <p:cNvSpPr/>
          <p:nvPr/>
        </p:nvSpPr>
        <p:spPr>
          <a:xfrm>
            <a:off x="9563620" y="1136228"/>
            <a:ext cx="384048" cy="58202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37A8AB35-7AF2-4DC5-8CA3-E02C8D805D36}"/>
              </a:ext>
            </a:extLst>
          </p:cNvPr>
          <p:cNvSpPr/>
          <p:nvPr/>
        </p:nvSpPr>
        <p:spPr>
          <a:xfrm>
            <a:off x="10093972" y="1211798"/>
            <a:ext cx="18797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A409EB5D-A533-4587-9BB2-1AEC1A2C7541}"/>
              </a:ext>
            </a:extLst>
          </p:cNvPr>
          <p:cNvSpPr/>
          <p:nvPr/>
        </p:nvSpPr>
        <p:spPr>
          <a:xfrm>
            <a:off x="3705449" y="2926479"/>
            <a:ext cx="246781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žší proočkovanost (cca 60% v populaci 16+)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3D204F24-98DD-4702-AD37-78F3FF937221}"/>
              </a:ext>
            </a:extLst>
          </p:cNvPr>
          <p:cNvSpPr/>
          <p:nvPr/>
        </p:nvSpPr>
        <p:spPr>
          <a:xfrm>
            <a:off x="6545120" y="2838285"/>
            <a:ext cx="2807208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ástečná ztráta ochrany zranitelných skupin**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Šipka: doprava 19">
            <a:extLst>
              <a:ext uri="{FF2B5EF4-FFF2-40B4-BE49-F238E27FC236}">
                <a16:creationId xmlns:a16="http://schemas.microsoft.com/office/drawing/2014/main" id="{E8F44E26-FFA8-4C55-AE00-063C02002088}"/>
              </a:ext>
            </a:extLst>
          </p:cNvPr>
          <p:cNvSpPr/>
          <p:nvPr/>
        </p:nvSpPr>
        <p:spPr>
          <a:xfrm>
            <a:off x="9691721" y="3157344"/>
            <a:ext cx="384048" cy="58202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938C5989-E24C-42AB-885C-845A5C4E8CB2}"/>
              </a:ext>
            </a:extLst>
          </p:cNvPr>
          <p:cNvSpPr/>
          <p:nvPr/>
        </p:nvSpPr>
        <p:spPr>
          <a:xfrm>
            <a:off x="10222073" y="3187194"/>
            <a:ext cx="18797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lang="cs-CZ" sz="2200" b="1" dirty="0">
                <a:solidFill>
                  <a:srgbClr val="3333CC"/>
                </a:solidFill>
                <a:latin typeface="Calibri" panose="020F0502020204030204"/>
              </a:rPr>
              <a:t>I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</a:p>
        </p:txBody>
      </p: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7E60BCC4-8AC1-4AAA-8E5C-568B8AD0D6E8}"/>
              </a:ext>
            </a:extLst>
          </p:cNvPr>
          <p:cNvCxnSpPr>
            <a:cxnSpLocks/>
          </p:cNvCxnSpPr>
          <p:nvPr/>
        </p:nvCxnSpPr>
        <p:spPr>
          <a:xfrm>
            <a:off x="2969040" y="3476313"/>
            <a:ext cx="644652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6EEFD4B4-023A-4D02-9F2C-C48C354C8953}"/>
              </a:ext>
            </a:extLst>
          </p:cNvPr>
          <p:cNvCxnSpPr>
            <a:cxnSpLocks/>
          </p:cNvCxnSpPr>
          <p:nvPr/>
        </p:nvCxnSpPr>
        <p:spPr>
          <a:xfrm>
            <a:off x="2292125" y="4495163"/>
            <a:ext cx="960816" cy="95596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bdélník 25">
            <a:extLst>
              <a:ext uri="{FF2B5EF4-FFF2-40B4-BE49-F238E27FC236}">
                <a16:creationId xmlns:a16="http://schemas.microsoft.com/office/drawing/2014/main" id="{77C6452C-A8FC-47D8-A9DD-A3B1233DC39B}"/>
              </a:ext>
            </a:extLst>
          </p:cNvPr>
          <p:cNvSpPr/>
          <p:nvPr/>
        </p:nvSpPr>
        <p:spPr>
          <a:xfrm>
            <a:off x="3323988" y="5120918"/>
            <a:ext cx="28072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ízká proočkovanost (&lt; 60% v populaci 16+)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2D47680E-FA8B-41C4-983B-4793796CBB41}"/>
              </a:ext>
            </a:extLst>
          </p:cNvPr>
          <p:cNvSpPr/>
          <p:nvPr/>
        </p:nvSpPr>
        <p:spPr>
          <a:xfrm>
            <a:off x="6603636" y="4994038"/>
            <a:ext cx="274869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dirty="0">
                <a:solidFill>
                  <a:prstClr val="black"/>
                </a:solidFill>
                <a:latin typeface="Calibri" panose="020F0502020204030204"/>
              </a:rPr>
              <a:t>Významnější ztráta 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chrany zranitelných skupin ***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28">
            <a:extLst>
              <a:ext uri="{FF2B5EF4-FFF2-40B4-BE49-F238E27FC236}">
                <a16:creationId xmlns:a16="http://schemas.microsoft.com/office/drawing/2014/main" id="{14FB6F32-FA0A-439B-AC33-36C96173D56D}"/>
              </a:ext>
            </a:extLst>
          </p:cNvPr>
          <p:cNvSpPr/>
          <p:nvPr/>
        </p:nvSpPr>
        <p:spPr>
          <a:xfrm>
            <a:off x="9644248" y="5284455"/>
            <a:ext cx="384048" cy="58202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283C6836-9C4D-46E7-9F13-1E5777E83D0F}"/>
              </a:ext>
            </a:extLst>
          </p:cNvPr>
          <p:cNvSpPr/>
          <p:nvPr/>
        </p:nvSpPr>
        <p:spPr>
          <a:xfrm>
            <a:off x="10128880" y="5360025"/>
            <a:ext cx="18797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lang="cs-CZ" sz="2200" b="1" dirty="0">
                <a:solidFill>
                  <a:srgbClr val="3333CC"/>
                </a:solidFill>
                <a:latin typeface="Calibri" panose="020F0502020204030204"/>
              </a:rPr>
              <a:t>III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698EBB1C-CCD0-45F3-9C68-9EE8E6C1F0C5}"/>
              </a:ext>
            </a:extLst>
          </p:cNvPr>
          <p:cNvSpPr txBox="1"/>
          <p:nvPr/>
        </p:nvSpPr>
        <p:spPr>
          <a:xfrm>
            <a:off x="6512657" y="1718257"/>
            <a:ext cx="558919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* Podaří se proočkovat &gt; 90% seniorních skupin obyvatel, model předpokládá trvalý dlouhodobý efekt vakcinace u těchto osob. Zavedou se účinná preventivní opatření chránící seniory, sociální zařízení apod. 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65E3C09B-7F6F-4F8A-B9B6-E582634C1AF7}"/>
              </a:ext>
            </a:extLst>
          </p:cNvPr>
          <p:cNvSpPr txBox="1"/>
          <p:nvPr/>
        </p:nvSpPr>
        <p:spPr>
          <a:xfrm>
            <a:off x="6512657" y="3933891"/>
            <a:ext cx="567934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** Nepodaří se proočkovat &gt; 90% seniorních skupin obyvatel, model nicméně předpokládá trvalý dlouhodobý efekt vakcinace u těchto osob. Zavedou se účinná preventivní opatření chránící seniory, sociální zařízení apod.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7CFDA444-6BE4-4E4A-8CEF-80728B3EAB17}"/>
              </a:ext>
            </a:extLst>
          </p:cNvPr>
          <p:cNvSpPr txBox="1"/>
          <p:nvPr/>
        </p:nvSpPr>
        <p:spPr>
          <a:xfrm>
            <a:off x="6576204" y="6052982"/>
            <a:ext cx="574585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*** Nepodaří se proočkovat &gt; 90% seniorních skupin obyvatel a dojde k částečné ztrátě (vyprchání) ochrany vakcinací u těchto osob. Nákaza se bude částečně šířit i v seniorní populaci a mezi dlouhodobě nemocnými.</a:t>
            </a:r>
          </a:p>
        </p:txBody>
      </p:sp>
      <p:cxnSp>
        <p:nvCxnSpPr>
          <p:cNvPr id="35" name="Přímá spojnice se šipkou 34">
            <a:extLst>
              <a:ext uri="{FF2B5EF4-FFF2-40B4-BE49-F238E27FC236}">
                <a16:creationId xmlns:a16="http://schemas.microsoft.com/office/drawing/2014/main" id="{286F60BF-388E-45A8-8AD1-BCE17096E80C}"/>
              </a:ext>
            </a:extLst>
          </p:cNvPr>
          <p:cNvCxnSpPr>
            <a:cxnSpLocks/>
          </p:cNvCxnSpPr>
          <p:nvPr/>
        </p:nvCxnSpPr>
        <p:spPr>
          <a:xfrm>
            <a:off x="6131196" y="3394136"/>
            <a:ext cx="343044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se šipkou 35">
            <a:extLst>
              <a:ext uri="{FF2B5EF4-FFF2-40B4-BE49-F238E27FC236}">
                <a16:creationId xmlns:a16="http://schemas.microsoft.com/office/drawing/2014/main" id="{F78DDCFE-E011-48A5-BCDB-40A3EEAA1C37}"/>
              </a:ext>
            </a:extLst>
          </p:cNvPr>
          <p:cNvCxnSpPr>
            <a:cxnSpLocks/>
          </p:cNvCxnSpPr>
          <p:nvPr/>
        </p:nvCxnSpPr>
        <p:spPr>
          <a:xfrm>
            <a:off x="6247481" y="5505638"/>
            <a:ext cx="343044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1BD02343-3B5E-4F98-BE6C-73727F2F871D}"/>
              </a:ext>
            </a:extLst>
          </p:cNvPr>
          <p:cNvSpPr txBox="1"/>
          <p:nvPr/>
        </p:nvSpPr>
        <p:spPr>
          <a:xfrm>
            <a:off x="3382709" y="1796320"/>
            <a:ext cx="300774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b="1" dirty="0"/>
              <a:t>Vysoký efekt plného očkování</a:t>
            </a:r>
            <a:endParaRPr lang="cs-CZ" b="1" u="sng" dirty="0"/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8203A09D-0024-4BB0-885B-95467AF6C5E2}"/>
              </a:ext>
            </a:extLst>
          </p:cNvPr>
          <p:cNvSpPr txBox="1"/>
          <p:nvPr/>
        </p:nvSpPr>
        <p:spPr>
          <a:xfrm>
            <a:off x="3705448" y="3913995"/>
            <a:ext cx="3007745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b="1" dirty="0"/>
              <a:t>Nižší efekt očkování proti nové variantě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0C1AF043-1F36-4272-AF17-A5089DA30AD8}"/>
              </a:ext>
            </a:extLst>
          </p:cNvPr>
          <p:cNvSpPr txBox="1"/>
          <p:nvPr/>
        </p:nvSpPr>
        <p:spPr>
          <a:xfrm>
            <a:off x="3332239" y="5840865"/>
            <a:ext cx="3007745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b="1" dirty="0"/>
              <a:t>Nižší efekt očkování proti nové variantě</a:t>
            </a:r>
          </a:p>
        </p:txBody>
      </p:sp>
    </p:spTree>
    <p:extLst>
      <p:ext uri="{BB962C8B-B14F-4D97-AF65-F5344CB8AC3E}">
        <p14:creationId xmlns:p14="http://schemas.microsoft.com/office/powerpoint/2010/main" val="32574741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69682" y="18010"/>
            <a:ext cx="118864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kátory rizikového vývoje </a:t>
            </a:r>
            <a:endParaRPr kumimoji="0" lang="cs-CZ" sz="3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B6816809-E6B2-40E8-A88F-482EFC11C691}"/>
              </a:ext>
            </a:extLst>
          </p:cNvPr>
          <p:cNvSpPr/>
          <p:nvPr/>
        </p:nvSpPr>
        <p:spPr>
          <a:xfrm>
            <a:off x="983124" y="1008254"/>
            <a:ext cx="28072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ká proočkovanost (&gt; 70% v populaci 16+)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37A8AB35-7AF2-4DC5-8CA3-E02C8D805D36}"/>
              </a:ext>
            </a:extLst>
          </p:cNvPr>
          <p:cNvSpPr/>
          <p:nvPr/>
        </p:nvSpPr>
        <p:spPr>
          <a:xfrm>
            <a:off x="1258151" y="1920826"/>
            <a:ext cx="18797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A409EB5D-A533-4587-9BB2-1AEC1A2C7541}"/>
              </a:ext>
            </a:extLst>
          </p:cNvPr>
          <p:cNvSpPr/>
          <p:nvPr/>
        </p:nvSpPr>
        <p:spPr>
          <a:xfrm>
            <a:off x="4792456" y="1008254"/>
            <a:ext cx="300846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á proočkovanos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cca 60% v populaci 16+)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938C5989-E24C-42AB-885C-845A5C4E8CB2}"/>
              </a:ext>
            </a:extLst>
          </p:cNvPr>
          <p:cNvSpPr/>
          <p:nvPr/>
        </p:nvSpPr>
        <p:spPr>
          <a:xfrm>
            <a:off x="5356795" y="1920826"/>
            <a:ext cx="18797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lang="cs-CZ" sz="2200" b="1" dirty="0">
                <a:solidFill>
                  <a:srgbClr val="3333CC"/>
                </a:solidFill>
                <a:latin typeface="Calibri" panose="020F0502020204030204"/>
              </a:rPr>
              <a:t>I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77C6452C-A8FC-47D8-A9DD-A3B1233DC39B}"/>
              </a:ext>
            </a:extLst>
          </p:cNvPr>
          <p:cNvSpPr/>
          <p:nvPr/>
        </p:nvSpPr>
        <p:spPr>
          <a:xfrm>
            <a:off x="8872270" y="928446"/>
            <a:ext cx="28072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ízká proočkovanost (&lt; 60% v populaci 16+)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283C6836-9C4D-46E7-9F13-1E5777E83D0F}"/>
              </a:ext>
            </a:extLst>
          </p:cNvPr>
          <p:cNvSpPr/>
          <p:nvPr/>
        </p:nvSpPr>
        <p:spPr>
          <a:xfrm>
            <a:off x="10176353" y="1839390"/>
            <a:ext cx="18797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lang="cs-CZ" sz="2200" b="1" dirty="0">
                <a:solidFill>
                  <a:srgbClr val="3333CC"/>
                </a:solidFill>
                <a:latin typeface="Calibri" panose="020F0502020204030204"/>
              </a:rPr>
              <a:t>III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608A5942-0B98-4A59-9958-7B94101201AA}"/>
              </a:ext>
            </a:extLst>
          </p:cNvPr>
          <p:cNvSpPr txBox="1"/>
          <p:nvPr/>
        </p:nvSpPr>
        <p:spPr>
          <a:xfrm>
            <a:off x="1674502" y="544095"/>
            <a:ext cx="92443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800" i="1" dirty="0"/>
              <a:t>Vývoj v závěru srpna – počátku září při stejném objemu testů </a:t>
            </a:r>
          </a:p>
        </p:txBody>
      </p: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FD2CD4FF-DDC1-4356-B7EF-FD53A0F39E50}"/>
              </a:ext>
            </a:extLst>
          </p:cNvPr>
          <p:cNvCxnSpPr>
            <a:cxnSpLocks/>
          </p:cNvCxnSpPr>
          <p:nvPr/>
        </p:nvCxnSpPr>
        <p:spPr>
          <a:xfrm>
            <a:off x="1845964" y="2321630"/>
            <a:ext cx="0" cy="76757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3BA34900-CD7E-4EE1-9849-85657F099ED2}"/>
              </a:ext>
            </a:extLst>
          </p:cNvPr>
          <p:cNvSpPr txBox="1"/>
          <p:nvPr/>
        </p:nvSpPr>
        <p:spPr>
          <a:xfrm>
            <a:off x="0" y="3032766"/>
            <a:ext cx="4096677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R dlouhodobě &lt; 1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7denní záchyty nákazy: 10 – 25 / 100 tis. obyv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Relativní pozitivita indikovaných testů: &lt; 4 – 5%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cs-CZ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Specifické šíření v populaci &lt; 40 le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Nízký zásah zranitelných skupin, 7 denní záchyty v populaci 65+ nižší než 12,5/100tis. obyv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Nákazy po vakcinaci nerostou v seniorní populaci; &gt; 90% nakažených po vakcinaci má mírný průběh nemoci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cs-CZ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Neroste počet symptomatických případů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Příjmy do nemocnic: &lt; 15 - 20 denně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Obsazenost JIP: &lt; 10% celkové kapacity</a:t>
            </a:r>
          </a:p>
        </p:txBody>
      </p:sp>
      <p:cxnSp>
        <p:nvCxnSpPr>
          <p:cNvPr id="32" name="Přímá spojnice se šipkou 31">
            <a:extLst>
              <a:ext uri="{FF2B5EF4-FFF2-40B4-BE49-F238E27FC236}">
                <a16:creationId xmlns:a16="http://schemas.microsoft.com/office/drawing/2014/main" id="{2A79C204-ACB1-4331-A369-25F2A7554E2C}"/>
              </a:ext>
            </a:extLst>
          </p:cNvPr>
          <p:cNvCxnSpPr/>
          <p:nvPr/>
        </p:nvCxnSpPr>
        <p:spPr>
          <a:xfrm>
            <a:off x="11387572" y="2351713"/>
            <a:ext cx="0" cy="109728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212E502D-DC2B-4088-AEF4-5BDEF378293F}"/>
              </a:ext>
            </a:extLst>
          </p:cNvPr>
          <p:cNvSpPr txBox="1"/>
          <p:nvPr/>
        </p:nvSpPr>
        <p:spPr>
          <a:xfrm>
            <a:off x="4130861" y="3026274"/>
            <a:ext cx="4096675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R dlouhodobě &gt; 1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7denní záchyty nákazy: &gt;25/ 100 tis. obyv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Relativní pozitivita indikovaných testů: &gt; 5 – 10%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cs-CZ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7 denní záchyty v populaci 65+ nižší než 25/100tis. obyv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Nákazy po vakcinaci významně nerostou v seniorní populaci; &gt; 90% nakažených po vakcinaci má mírný průběh nemoci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cs-CZ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S růstem počtu nakažených roste počet symptomatických případů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Příjmy do nemocnic: max. 20 - 30 denně, rostoucí tren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Riziková obsazenost JIP: 10 - 20% celkové kapacity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37B9C062-96E5-4AB0-BD95-407F40F3805E}"/>
              </a:ext>
            </a:extLst>
          </p:cNvPr>
          <p:cNvSpPr txBox="1"/>
          <p:nvPr/>
        </p:nvSpPr>
        <p:spPr>
          <a:xfrm>
            <a:off x="8227536" y="3230238"/>
            <a:ext cx="4096675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R dlouhodobě &gt; 1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7denní záchyty nákazy: &gt;50/ 100 tis. obyv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Relativní pozitivita indikovaných testů: &gt; 5 – 10%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cs-CZ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>
                <a:solidFill>
                  <a:srgbClr val="FF0000"/>
                </a:solidFill>
              </a:rPr>
              <a:t>7 denní záchyty v populaci 65+ vyšší než 25/100tis. obyv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>
                <a:solidFill>
                  <a:srgbClr val="FF0000"/>
                </a:solidFill>
              </a:rPr>
              <a:t>Nákazy po vakcinaci významně rostou v seniorní populaci; ohniska v seniorní populaci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cs-CZ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S růstem počtu nakažených roste počet symptomatických případů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Příjmy do nemocnic: &gt; 50 denně, rostoucí tren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400" dirty="0"/>
              <a:t>Riziková obsazenost JIP: &gt; 20% celkové kapacity</a:t>
            </a:r>
          </a:p>
        </p:txBody>
      </p:sp>
      <p:cxnSp>
        <p:nvCxnSpPr>
          <p:cNvPr id="20" name="Přímá spojnice se šipkou 19">
            <a:extLst>
              <a:ext uri="{FF2B5EF4-FFF2-40B4-BE49-F238E27FC236}">
                <a16:creationId xmlns:a16="http://schemas.microsoft.com/office/drawing/2014/main" id="{EF79FE93-C77A-4E01-81A3-14FC52060245}"/>
              </a:ext>
            </a:extLst>
          </p:cNvPr>
          <p:cNvCxnSpPr>
            <a:cxnSpLocks/>
          </p:cNvCxnSpPr>
          <p:nvPr/>
        </p:nvCxnSpPr>
        <p:spPr>
          <a:xfrm>
            <a:off x="6112908" y="2321630"/>
            <a:ext cx="0" cy="76757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303599FD-4FB1-4418-8DFD-122D2ED7BAE9}"/>
              </a:ext>
            </a:extLst>
          </p:cNvPr>
          <p:cNvSpPr txBox="1"/>
          <p:nvPr/>
        </p:nvSpPr>
        <p:spPr>
          <a:xfrm>
            <a:off x="1674502" y="6427113"/>
            <a:ext cx="924436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200" i="1" dirty="0"/>
              <a:t>Hodnocení vývoje je nezbytně multidimenzionální</a:t>
            </a:r>
          </a:p>
        </p:txBody>
      </p:sp>
    </p:spTree>
    <p:extLst>
      <p:ext uri="{BB962C8B-B14F-4D97-AF65-F5344CB8AC3E}">
        <p14:creationId xmlns:p14="http://schemas.microsoft.com/office/powerpoint/2010/main" val="33820778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69682" y="18010"/>
            <a:ext cx="118864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kátory rizikového vývoje </a:t>
            </a:r>
            <a:endParaRPr kumimoji="0" lang="cs-CZ" sz="3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303599FD-4FB1-4418-8DFD-122D2ED7BAE9}"/>
              </a:ext>
            </a:extLst>
          </p:cNvPr>
          <p:cNvSpPr txBox="1"/>
          <p:nvPr/>
        </p:nvSpPr>
        <p:spPr>
          <a:xfrm>
            <a:off x="471714" y="1067323"/>
            <a:ext cx="1124857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800" i="1" dirty="0"/>
              <a:t>Hodnocení vývoje musí zahrnovat minimálně výše uvedený počet cca 10 významných ukazatelů. Ne všechny mají ovšem stejný indikační význam, některé jsou „early </a:t>
            </a:r>
            <a:r>
              <a:rPr lang="cs-CZ" sz="2800" i="1" dirty="0" err="1"/>
              <a:t>warning</a:t>
            </a:r>
            <a:r>
              <a:rPr lang="cs-CZ" sz="2800" i="1" dirty="0"/>
              <a:t>“ indikátory rizika (např. nárůst počtu symptomatických případů, rostoucí relativní pozitivita testů), zatímco jiné jsou spíše indikátory rizikového dopadu vývoje (rostoucí počet příjmů na JIP). 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EE878D25-7488-4F66-AC81-646C05B61941}"/>
              </a:ext>
            </a:extLst>
          </p:cNvPr>
          <p:cNvSpPr txBox="1"/>
          <p:nvPr/>
        </p:nvSpPr>
        <p:spPr>
          <a:xfrm>
            <a:off x="653143" y="4238694"/>
            <a:ext cx="1108405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800" i="1" dirty="0"/>
              <a:t>Pro včasné rozpoznání rizika a pro relevantní hodnocení časových trendů je zcela zásadní udržení dostatečného objemu testů, plná dostupnost testů preventivních a včasné provedení a vytěžení testů indikovaných.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75C5FF54-BC25-45CD-B418-658098C838D5}"/>
              </a:ext>
            </a:extLst>
          </p:cNvPr>
          <p:cNvSpPr txBox="1"/>
          <p:nvPr/>
        </p:nvSpPr>
        <p:spPr>
          <a:xfrm>
            <a:off x="169682" y="4931191"/>
            <a:ext cx="8172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800" dirty="0">
                <a:solidFill>
                  <a:srgbClr val="FF0000"/>
                </a:solidFill>
                <a:latin typeface="Arial Black" panose="020B0A04020102020204" pitchFamily="34" charset="0"/>
              </a:rPr>
              <a:t>!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0072A982-3FE5-43DC-8385-178F6A7B8479}"/>
              </a:ext>
            </a:extLst>
          </p:cNvPr>
          <p:cNvSpPr txBox="1"/>
          <p:nvPr/>
        </p:nvSpPr>
        <p:spPr>
          <a:xfrm>
            <a:off x="11205029" y="4954180"/>
            <a:ext cx="8172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800" dirty="0">
                <a:solidFill>
                  <a:srgbClr val="FF0000"/>
                </a:solidFill>
                <a:latin typeface="Arial Black" panose="020B0A04020102020204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3450361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A92327AC-9DC4-4FA9-B63A-00DBCF60CD90}"/>
              </a:ext>
            </a:extLst>
          </p:cNvPr>
          <p:cNvSpPr/>
          <p:nvPr/>
        </p:nvSpPr>
        <p:spPr>
          <a:xfrm>
            <a:off x="8207795" y="1053236"/>
            <a:ext cx="3980176" cy="5814189"/>
          </a:xfrm>
          <a:prstGeom prst="rect">
            <a:avLst/>
          </a:prstGeom>
          <a:solidFill>
            <a:srgbClr val="FFB7B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7E052C4E-02CB-48B6-BF21-FF07D7B0AA2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103898" y="1053237"/>
            <a:ext cx="4096675" cy="5814189"/>
          </a:xfrm>
          <a:prstGeom prst="rect">
            <a:avLst/>
          </a:prstGeom>
          <a:solidFill>
            <a:srgbClr val="F8CBA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DFFAEAE8-428F-4D53-A24F-CFC62EEC8454}"/>
              </a:ext>
            </a:extLst>
          </p:cNvPr>
          <p:cNvSpPr/>
          <p:nvPr/>
        </p:nvSpPr>
        <p:spPr>
          <a:xfrm>
            <a:off x="0" y="1053236"/>
            <a:ext cx="4096675" cy="58141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0" y="-24018"/>
            <a:ext cx="1219200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ikátory</a:t>
            </a:r>
            <a:r>
              <a:rPr kumimoji="0" lang="cs-CZ" sz="3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zikového vývoje 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B6816809-E6B2-40E8-A88F-482EFC11C691}"/>
              </a:ext>
            </a:extLst>
          </p:cNvPr>
          <p:cNvSpPr/>
          <p:nvPr/>
        </p:nvSpPr>
        <p:spPr>
          <a:xfrm>
            <a:off x="512522" y="1399563"/>
            <a:ext cx="28072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ká proočkovanost (&gt; 70% v populaci 16+)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37A8AB35-7AF2-4DC5-8CA3-E02C8D805D36}"/>
              </a:ext>
            </a:extLst>
          </p:cNvPr>
          <p:cNvSpPr/>
          <p:nvPr/>
        </p:nvSpPr>
        <p:spPr>
          <a:xfrm>
            <a:off x="1140245" y="1060972"/>
            <a:ext cx="134207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A409EB5D-A533-4587-9BB2-1AEC1A2C7541}"/>
              </a:ext>
            </a:extLst>
          </p:cNvPr>
          <p:cNvSpPr/>
          <p:nvPr/>
        </p:nvSpPr>
        <p:spPr>
          <a:xfrm>
            <a:off x="4499918" y="1450314"/>
            <a:ext cx="316241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á proočkovanos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cca 60% v populaci 16+)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938C5989-E24C-42AB-885C-845A5C4E8CB2}"/>
              </a:ext>
            </a:extLst>
          </p:cNvPr>
          <p:cNvSpPr/>
          <p:nvPr/>
        </p:nvSpPr>
        <p:spPr>
          <a:xfrm>
            <a:off x="5333107" y="1060973"/>
            <a:ext cx="13420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</a:t>
            </a: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77C6452C-A8FC-47D8-A9DD-A3B1233DC39B}"/>
              </a:ext>
            </a:extLst>
          </p:cNvPr>
          <p:cNvSpPr/>
          <p:nvPr/>
        </p:nvSpPr>
        <p:spPr>
          <a:xfrm>
            <a:off x="8688567" y="1393307"/>
            <a:ext cx="28072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ízká proočkovanost (&lt; 60% v populaci 16+)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283C6836-9C4D-46E7-9F13-1E5777E83D0F}"/>
              </a:ext>
            </a:extLst>
          </p:cNvPr>
          <p:cNvSpPr/>
          <p:nvPr/>
        </p:nvSpPr>
        <p:spPr>
          <a:xfrm>
            <a:off x="9352967" y="1087954"/>
            <a:ext cx="147840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608A5942-0B98-4A59-9958-7B94101201AA}"/>
              </a:ext>
            </a:extLst>
          </p:cNvPr>
          <p:cNvSpPr txBox="1"/>
          <p:nvPr/>
        </p:nvSpPr>
        <p:spPr>
          <a:xfrm>
            <a:off x="0" y="530017"/>
            <a:ext cx="12192000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voj v závěru srpna – počátku září při stejném objemu testů. Pro včasné rozpoznání rizika a pro relevantní hodnocení časových trendů je zcela zásadní udržení dostatečného objemu testů, plná dostupnost testů preventivních a včasné provedení a vytěžení testů indikovaných.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ovéPole 30">
            <a:extLst>
              <a:ext uri="{FF2B5EF4-FFF2-40B4-BE49-F238E27FC236}">
                <a16:creationId xmlns:a16="http://schemas.microsoft.com/office/drawing/2014/main" id="{3BA34900-CD7E-4EE1-9849-85657F099ED2}"/>
              </a:ext>
            </a:extLst>
          </p:cNvPr>
          <p:cNvSpPr txBox="1"/>
          <p:nvPr/>
        </p:nvSpPr>
        <p:spPr>
          <a:xfrm>
            <a:off x="139499" y="2273318"/>
            <a:ext cx="3190875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0" indent="-2286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57200" algn="l"/>
              </a:tabLst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7279726"/>
              </p:ext>
            </p:extLst>
          </p:nvPr>
        </p:nvGraphicFramePr>
        <p:xfrm>
          <a:off x="239628" y="2176833"/>
          <a:ext cx="3486766" cy="425545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46422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1040344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</a:tblGrid>
              <a:tr h="41111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edované Hodnot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av k datu 26.09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1709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dlouhodobě &lt; 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O (0.8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denní záchyty : &lt; 25 / 100 tis. obyv. (350den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 (28.0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ativní pozitivita indikovaných testů (Dg + Epi): celkem &lt; 5% (senioři 65+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O 1.9% (2.6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ecifické šíření v populaci &lt; 50 let (většina nákaz v tomto věku, &gt; 60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O (81.0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57236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ízký zásah zranitelných skupin, 7 denní záchyty v populaci 65+ nižší než 12,5/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O (10.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291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ákazy po vakcinaci nerostou v populaci 65+, efekt redukce nákaz &g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 (69.1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gt; 90% nakažených po vakcinaci má mírný průběh nemoci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O (99.3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6672984"/>
                  </a:ext>
                </a:extLst>
              </a:tr>
              <a:tr h="68398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roste počet symptomatických případů (max 40% diagnostikovaný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O (35.1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9774007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íjmy do nemocnic: &lt; 20 průměrně denně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O (15.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54991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sazenost JIP: &lt; 10% celkové kapacit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O (1.3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6690936"/>
                  </a:ext>
                </a:extLst>
              </a:tr>
            </a:tbl>
          </a:graphicData>
        </a:graphic>
      </p:graphicFrame>
      <p:graphicFrame>
        <p:nvGraphicFramePr>
          <p:cNvPr id="23" name="Tabulka 22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68872232"/>
              </p:ext>
            </p:extLst>
          </p:nvPr>
        </p:nvGraphicFramePr>
        <p:xfrm>
          <a:off x="4188550" y="2176833"/>
          <a:ext cx="3964398" cy="461759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62687">
                  <a:extLst>
                    <a:ext uri="{9D8B030D-6E8A-4147-A177-3AD203B41FA5}">
                      <a16:colId xmlns:a16="http://schemas.microsoft.com/office/drawing/2014/main" val="2344702396"/>
                    </a:ext>
                  </a:extLst>
                </a:gridCol>
                <a:gridCol w="1201711">
                  <a:extLst>
                    <a:ext uri="{9D8B030D-6E8A-4147-A177-3AD203B41FA5}">
                      <a16:colId xmlns:a16="http://schemas.microsoft.com/office/drawing/2014/main" val="1004417482"/>
                    </a:ext>
                  </a:extLst>
                </a:gridCol>
              </a:tblGrid>
              <a:tr h="40264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edované Hodnot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av k datu 26.09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6979008"/>
                  </a:ext>
                </a:extLst>
              </a:tr>
              <a:tr h="17355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dlouhodobě &gt; 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 (0.8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8315878"/>
                  </a:ext>
                </a:extLst>
              </a:tr>
              <a:tr h="31136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denní záchyty:  &gt;25/ 100 tis. obyv. (&gt; 350 den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O (28.0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1192381"/>
                  </a:ext>
                </a:extLst>
              </a:tr>
              <a:tr h="62273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ativní pozitivita indikovaných testů (Dg + Epi): &gt; 5% (u seniorů &lt; 5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 1.9% (2.6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7972511"/>
                  </a:ext>
                </a:extLst>
              </a:tr>
              <a:tr h="48482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ízký zásah zranitelných skupin, 7 denní záchyty v populaci 65+ nižší než 12,5/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O (10.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0625468"/>
                  </a:ext>
                </a:extLst>
              </a:tr>
              <a:tr h="46704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s 60% nakažených jsou neočkovaní, &lt; 20% je po 2.dáv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O 78.9%/19.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0725229"/>
                  </a:ext>
                </a:extLst>
              </a:tr>
              <a:tr h="467049"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ákazy po vakcinaci nerostou v populaci 65+, efekt redukce nákaz &g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 (69.1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392969"/>
                  </a:ext>
                </a:extLst>
              </a:tr>
              <a:tr h="34225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&gt; 90% nakažených po vakcinaci má mírný průběh nemoci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O (99.3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254238"/>
                  </a:ext>
                </a:extLst>
              </a:tr>
              <a:tr h="62273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 růstem počtu nakažených roste počet symptomatických případů (&gt; 40% diagnostikovaný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 (0.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4204539"/>
                  </a:ext>
                </a:extLst>
              </a:tr>
              <a:tr h="31136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íjmy do nemocnic: &gt; 30 denně, rostoucí tren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 (15.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1696368"/>
                  </a:ext>
                </a:extLst>
              </a:tr>
              <a:tr h="3113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ziková obsazenost JIP: &gt;10 % celkové kapacit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 (1.3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7505496"/>
                  </a:ext>
                </a:extLst>
              </a:tr>
            </a:tbl>
          </a:graphicData>
        </a:graphic>
      </p:graphicFrame>
      <p:graphicFrame>
        <p:nvGraphicFramePr>
          <p:cNvPr id="28" name="Tabulka 27"/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14655108"/>
              </p:ext>
            </p:extLst>
          </p:nvPr>
        </p:nvGraphicFramePr>
        <p:xfrm>
          <a:off x="8566371" y="2188054"/>
          <a:ext cx="3395643" cy="441486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56379">
                  <a:extLst>
                    <a:ext uri="{9D8B030D-6E8A-4147-A177-3AD203B41FA5}">
                      <a16:colId xmlns:a16="http://schemas.microsoft.com/office/drawing/2014/main" val="3042265272"/>
                    </a:ext>
                  </a:extLst>
                </a:gridCol>
                <a:gridCol w="1039264">
                  <a:extLst>
                    <a:ext uri="{9D8B030D-6E8A-4147-A177-3AD203B41FA5}">
                      <a16:colId xmlns:a16="http://schemas.microsoft.com/office/drawing/2014/main" val="4075738211"/>
                    </a:ext>
                  </a:extLst>
                </a:gridCol>
              </a:tblGrid>
              <a:tr h="37499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edované Hodnot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av k datu 26.09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0763697"/>
                  </a:ext>
                </a:extLst>
              </a:tr>
              <a:tr h="17747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dlouhodobě &gt; 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 (0.8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7148209"/>
                  </a:ext>
                </a:extLst>
              </a:tr>
              <a:tr h="35671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denní záchyty : &gt;50/ 100 tis. obyv. (&gt; 750 den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 (28.0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6896819"/>
                  </a:ext>
                </a:extLst>
              </a:tr>
              <a:tr h="53967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ativní pozitivita indikovaných testů (Dg + Epi): &gt; 5% (u seniorů &gt; 5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 1.9% (2.6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0272901"/>
                  </a:ext>
                </a:extLst>
              </a:tr>
              <a:tr h="72263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ákazy po vakcinaci významně rostou v populaci seniorů 65+, včetně řady ohnisek, efekt redukce nákaz 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O (69.1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6945584"/>
                  </a:ext>
                </a:extLst>
              </a:tr>
              <a:tr h="45057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enní záchyty v populaci 65+ vyšší než 25/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 (10.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0797388"/>
                  </a:ext>
                </a:extLst>
              </a:tr>
              <a:tr h="53967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éně než 60% nakažených jsou neočkovaní, &gt; 20% je po 2.dáv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 78.9%/19.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6042279"/>
                  </a:ext>
                </a:extLst>
              </a:tr>
              <a:tr h="53967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 růstem počtu nakažených roste počet symptomatických případů (&gt; 50% diagnostikovaný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 (0.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2251435"/>
                  </a:ext>
                </a:extLst>
              </a:tr>
              <a:tr h="35671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íjmy do nemocnic: &gt; 50 denně, rostoucí tren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 (15.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4164280"/>
                  </a:ext>
                </a:extLst>
              </a:tr>
              <a:tr h="35671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ziková obsazenost JIP: &gt; 20% celkové kapacit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 (1.3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84097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423037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/>
          </a:bodyPr>
          <a:lstStyle/>
          <a:p>
            <a:r>
              <a:rPr lang="cs-CZ" sz="5200" b="1" dirty="0"/>
              <a:t>Projekce predikcí do vývoje zátěže nemocnic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159597513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69682" y="18010"/>
            <a:ext cx="1188645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ádaný dopad zhoršující se epidemické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tuace na podzim 2021</a:t>
            </a:r>
            <a:endParaRPr kumimoji="0" lang="cs-CZ" sz="3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303599FD-4FB1-4418-8DFD-122D2ED7BAE9}"/>
              </a:ext>
            </a:extLst>
          </p:cNvPr>
          <p:cNvSpPr txBox="1"/>
          <p:nvPr/>
        </p:nvSpPr>
        <p:spPr>
          <a:xfrm>
            <a:off x="471714" y="2025266"/>
            <a:ext cx="1124857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800" i="1" dirty="0"/>
              <a:t>Ačkoli pro podzimní měsíce 2021 nelze vyloučit zhoršení epidemické situace </a:t>
            </a:r>
          </a:p>
          <a:p>
            <a:pPr algn="ctr"/>
            <a:r>
              <a:rPr lang="cs-CZ" sz="2800" i="1" dirty="0"/>
              <a:t>a eskalaci v šíření nákazy, provedené projekce ukazují, že minimálně na počátku podzimní sezóny nebude mít epidemie tak významný zdravotní dopad jako tomu bylo na podzim 2020. Jde zejména o pozitivní důsledek proočkování populace a potenciálně zranitelných populačních skupin. </a:t>
            </a:r>
          </a:p>
        </p:txBody>
      </p:sp>
      <p:sp>
        <p:nvSpPr>
          <p:cNvPr id="7" name="Šipka dolů 1">
            <a:extLst>
              <a:ext uri="{FF2B5EF4-FFF2-40B4-BE49-F238E27FC236}">
                <a16:creationId xmlns:a16="http://schemas.microsoft.com/office/drawing/2014/main" id="{955C0929-9C1B-441E-ABC9-5B55337FCB5F}"/>
              </a:ext>
            </a:extLst>
          </p:cNvPr>
          <p:cNvSpPr/>
          <p:nvPr/>
        </p:nvSpPr>
        <p:spPr>
          <a:xfrm>
            <a:off x="5278357" y="4460709"/>
            <a:ext cx="163528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54235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nových hospitalizačních</a:t>
            </a:r>
            <a:r>
              <a:rPr lang="cs-CZ" dirty="0">
                <a:latin typeface="+mn-lt"/>
              </a:rPr>
              <a:t> případů (denní příjmy do nemocnic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7601809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6" name="Šipka doprava 5">
            <a:extLst>
              <a:ext uri="{FF2B5EF4-FFF2-40B4-BE49-F238E27FC236}">
                <a16:creationId xmlns:a16="http://schemas.microsoft.com/office/drawing/2014/main" id="{275D23C4-4989-44E2-88B9-234E4BAF9609}"/>
              </a:ext>
            </a:extLst>
          </p:cNvPr>
          <p:cNvSpPr/>
          <p:nvPr/>
        </p:nvSpPr>
        <p:spPr>
          <a:xfrm>
            <a:off x="8025277" y="5182973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F79E1C56-E52B-4DC5-B7BC-357DF7A0ED3E}"/>
              </a:ext>
            </a:extLst>
          </p:cNvPr>
          <p:cNvSpPr/>
          <p:nvPr/>
        </p:nvSpPr>
        <p:spPr>
          <a:xfrm>
            <a:off x="6196840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9" name="TextovéPole 29">
            <a:extLst>
              <a:ext uri="{FF2B5EF4-FFF2-40B4-BE49-F238E27FC236}">
                <a16:creationId xmlns:a16="http://schemas.microsoft.com/office/drawing/2014/main" id="{78C82521-5EA5-4A35-9451-120226A2095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36960" y="1713765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eal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TextovéPole 30">
            <a:extLst>
              <a:ext uri="{FF2B5EF4-FFF2-40B4-BE49-F238E27FC236}">
                <a16:creationId xmlns:a16="http://schemas.microsoft.com/office/drawing/2014/main" id="{ACAC3EFD-09FF-4784-BA2B-DBDD66EAF14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36960" y="222111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Optim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29">
            <a:extLst>
              <a:ext uri="{FF2B5EF4-FFF2-40B4-BE49-F238E27FC236}">
                <a16:creationId xmlns:a16="http://schemas.microsoft.com/office/drawing/2014/main" id="{D5015280-53F7-482D-A9A4-19B7B001A5D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736960" y="122997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I. Rizikov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B3C3DDE8-6E1E-4597-B032-DA6A423922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12761" y="2749039"/>
            <a:ext cx="382683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</a:p>
        </p:txBody>
      </p:sp>
      <p:sp>
        <p:nvSpPr>
          <p:cNvPr id="33" name="Rectangle 28">
            <a:extLst>
              <a:ext uri="{FF2B5EF4-FFF2-40B4-BE49-F238E27FC236}">
                <a16:creationId xmlns:a16="http://schemas.microsoft.com/office/drawing/2014/main" id="{1404746E-BB3E-4893-9C3C-9E7F636B753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93759" y="4693079"/>
            <a:ext cx="378505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potvrzuje optimistické scénáře, které předpokládají brždění epidemie posílené o rychlý efekt postupující vakcinace. Rostoucí počet nových nákaz v populaci z počátku července však naznačil potenciál k  zhoršování situace, jistě v důsledku šíření nové varianty viru. Proto jsou v modelech zpracovány i rizikové scénáře vývoje.</a:t>
            </a:r>
          </a:p>
        </p:txBody>
      </p:sp>
      <p:cxnSp>
        <p:nvCxnSpPr>
          <p:cNvPr id="34" name="Přímá spojnice 32">
            <a:extLst>
              <a:ext uri="{FF2B5EF4-FFF2-40B4-BE49-F238E27FC236}">
                <a16:creationId xmlns:a16="http://schemas.microsoft.com/office/drawing/2014/main" id="{1DEC34F9-3DFD-4E2C-8BBB-9277CFB1AA79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6116246" y="1863785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Přímá spojnice 33">
            <a:extLst>
              <a:ext uri="{FF2B5EF4-FFF2-40B4-BE49-F238E27FC236}">
                <a16:creationId xmlns:a16="http://schemas.microsoft.com/office/drawing/2014/main" id="{8578E5FB-3E53-4FB4-A221-B094F3A99354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6116246" y="239478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20">
            <a:extLst>
              <a:ext uri="{FF2B5EF4-FFF2-40B4-BE49-F238E27FC236}">
                <a16:creationId xmlns:a16="http://schemas.microsoft.com/office/drawing/2014/main" id="{8A5557B1-B1DF-4682-B740-9F582A547C62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116246" y="139084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Přímá spojnice 2">
            <a:extLst>
              <a:ext uri="{FF2B5EF4-FFF2-40B4-BE49-F238E27FC236}">
                <a16:creationId xmlns:a16="http://schemas.microsoft.com/office/drawing/2014/main" id="{394B98A4-9E1E-479D-AE2E-2B907F3268F3}"/>
              </a:ext>
            </a:extLst>
          </p:cNvPr>
          <p:cNvCxnSpPr>
            <a:cxnSpLocks/>
          </p:cNvCxnSpPr>
          <p:nvPr/>
        </p:nvCxnSpPr>
        <p:spPr>
          <a:xfrm flipV="1">
            <a:off x="1031638" y="4679491"/>
            <a:ext cx="6163049" cy="3444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3DDA4366-132A-41A9-B5F8-B054D4408F2E}"/>
              </a:ext>
            </a:extLst>
          </p:cNvPr>
          <p:cNvCxnSpPr>
            <a:cxnSpLocks/>
          </p:cNvCxnSpPr>
          <p:nvPr/>
        </p:nvCxnSpPr>
        <p:spPr>
          <a:xfrm>
            <a:off x="6975238" y="4663388"/>
            <a:ext cx="0" cy="79200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>
            <a:extLst>
              <a:ext uri="{FF2B5EF4-FFF2-40B4-BE49-F238E27FC236}">
                <a16:creationId xmlns:a16="http://schemas.microsoft.com/office/drawing/2014/main" id="{496492CA-8B50-4658-9481-A6F74AB6929C}"/>
              </a:ext>
            </a:extLst>
          </p:cNvPr>
          <p:cNvSpPr txBox="1"/>
          <p:nvPr/>
        </p:nvSpPr>
        <p:spPr>
          <a:xfrm>
            <a:off x="2429551" y="4293376"/>
            <a:ext cx="4307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: projekce hodnot k 20.9. 2021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BBBE6298-B2FE-464B-A15C-520B2FF8C018}"/>
              </a:ext>
            </a:extLst>
          </p:cNvPr>
          <p:cNvSpPr txBox="1"/>
          <p:nvPr/>
        </p:nvSpPr>
        <p:spPr>
          <a:xfrm>
            <a:off x="2075050" y="1417724"/>
            <a:ext cx="40606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solidFill>
                  <a:srgbClr val="0000FF"/>
                </a:solidFill>
              </a:rPr>
              <a:t>Vývoj sleduje predikce dané realistickým scénářem </a:t>
            </a:r>
          </a:p>
          <a:p>
            <a:r>
              <a:rPr lang="cs-CZ" sz="2400" b="1" dirty="0">
                <a:solidFill>
                  <a:srgbClr val="0000FF"/>
                </a:solidFill>
              </a:rPr>
              <a:t>a neeskaluje do rizikových hodnot. </a:t>
            </a:r>
          </a:p>
        </p:txBody>
      </p:sp>
    </p:spTree>
    <p:extLst>
      <p:ext uri="{BB962C8B-B14F-4D97-AF65-F5344CB8AC3E}">
        <p14:creationId xmlns:p14="http://schemas.microsoft.com/office/powerpoint/2010/main" val="264479507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celkov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368677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6" name="Šipka doprava 5"/>
          <p:cNvSpPr/>
          <p:nvPr/>
        </p:nvSpPr>
        <p:spPr>
          <a:xfrm>
            <a:off x="8025277" y="5182973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5E65512A-F0D5-4BE7-A4E2-98384B98CFD5}"/>
              </a:ext>
            </a:extLst>
          </p:cNvPr>
          <p:cNvSpPr/>
          <p:nvPr/>
        </p:nvSpPr>
        <p:spPr>
          <a:xfrm>
            <a:off x="6196840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9" name="TextovéPole 29">
            <a:extLst>
              <a:ext uri="{FF2B5EF4-FFF2-40B4-BE49-F238E27FC236}">
                <a16:creationId xmlns:a16="http://schemas.microsoft.com/office/drawing/2014/main" id="{DB77B4B0-9F39-4E6B-A88C-E4C90D9353B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736960" y="1713765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eal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TextovéPole 30">
            <a:extLst>
              <a:ext uri="{FF2B5EF4-FFF2-40B4-BE49-F238E27FC236}">
                <a16:creationId xmlns:a16="http://schemas.microsoft.com/office/drawing/2014/main" id="{19912165-E8E8-4CDB-B245-E0E2CAA518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736960" y="222111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Optim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5" name="TextovéPole 29">
            <a:extLst>
              <a:ext uri="{FF2B5EF4-FFF2-40B4-BE49-F238E27FC236}">
                <a16:creationId xmlns:a16="http://schemas.microsoft.com/office/drawing/2014/main" id="{D6A9C951-7195-4EDD-AC78-4BFC3E06A95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736960" y="122997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I. Rizikov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CAD8343-049D-4D72-B1C4-E2C38DF87A4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12761" y="2749039"/>
            <a:ext cx="382683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</a:p>
        </p:txBody>
      </p:sp>
      <p:sp>
        <p:nvSpPr>
          <p:cNvPr id="27" name="Rectangle 28">
            <a:extLst>
              <a:ext uri="{FF2B5EF4-FFF2-40B4-BE49-F238E27FC236}">
                <a16:creationId xmlns:a16="http://schemas.microsoft.com/office/drawing/2014/main" id="{6329A8F5-1D97-407A-ABA6-0A42FFD6F32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393759" y="4693079"/>
            <a:ext cx="378505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potvrzuje optimistické scénáře, které předpokládají brždění epidemie posílené o rychlý efekt postupující vakcinace. Rostoucí počet nových nákaz v populaci z počátku července však naznačil potenciál k  zhoršování situace, jistě v důsledku šíření nové varianty viru. Proto jsou v modelech zpracovány i rizikové scénáře vývoje.</a:t>
            </a:r>
          </a:p>
        </p:txBody>
      </p:sp>
      <p:cxnSp>
        <p:nvCxnSpPr>
          <p:cNvPr id="28" name="Přímá spojnice 32">
            <a:extLst>
              <a:ext uri="{FF2B5EF4-FFF2-40B4-BE49-F238E27FC236}">
                <a16:creationId xmlns:a16="http://schemas.microsoft.com/office/drawing/2014/main" id="{7D17B7DA-7AEF-40F2-9839-9405E41EF554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116246" y="1863785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Přímá spojnice 33">
            <a:extLst>
              <a:ext uri="{FF2B5EF4-FFF2-40B4-BE49-F238E27FC236}">
                <a16:creationId xmlns:a16="http://schemas.microsoft.com/office/drawing/2014/main" id="{A97D4125-89A3-40B2-B405-BBE878ACA418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6116246" y="239478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20">
            <a:extLst>
              <a:ext uri="{FF2B5EF4-FFF2-40B4-BE49-F238E27FC236}">
                <a16:creationId xmlns:a16="http://schemas.microsoft.com/office/drawing/2014/main" id="{842AACBE-6AF2-45F0-BA07-2553C9302D39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6116246" y="139084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8C1D1870-CE70-4FDC-BA61-BB11AC2DA04D}"/>
              </a:ext>
            </a:extLst>
          </p:cNvPr>
          <p:cNvCxnSpPr>
            <a:cxnSpLocks/>
          </p:cNvCxnSpPr>
          <p:nvPr/>
        </p:nvCxnSpPr>
        <p:spPr>
          <a:xfrm flipV="1">
            <a:off x="1133240" y="4766575"/>
            <a:ext cx="6163049" cy="3444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F2BBBD3E-4807-4FCA-93C2-0F20C478E13A}"/>
              </a:ext>
            </a:extLst>
          </p:cNvPr>
          <p:cNvCxnSpPr>
            <a:cxnSpLocks/>
          </p:cNvCxnSpPr>
          <p:nvPr/>
        </p:nvCxnSpPr>
        <p:spPr>
          <a:xfrm>
            <a:off x="7076840" y="4663388"/>
            <a:ext cx="0" cy="79200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798A0EB5-CA89-4952-A871-D1821A623EDC}"/>
              </a:ext>
            </a:extLst>
          </p:cNvPr>
          <p:cNvSpPr txBox="1"/>
          <p:nvPr/>
        </p:nvSpPr>
        <p:spPr>
          <a:xfrm>
            <a:off x="2531153" y="4380460"/>
            <a:ext cx="4307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: projekce hodnot k 20.9. 2021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2A3CB50B-2FA3-4C6B-9CFC-C785E2621ACD}"/>
              </a:ext>
            </a:extLst>
          </p:cNvPr>
          <p:cNvSpPr txBox="1"/>
          <p:nvPr/>
        </p:nvSpPr>
        <p:spPr>
          <a:xfrm>
            <a:off x="2075050" y="1417724"/>
            <a:ext cx="40606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solidFill>
                  <a:srgbClr val="0000FF"/>
                </a:solidFill>
              </a:rPr>
              <a:t>Vývoj sleduje predikce dané realistickým scénářem </a:t>
            </a:r>
          </a:p>
          <a:p>
            <a:r>
              <a:rPr lang="cs-CZ" sz="2400" b="1" dirty="0">
                <a:solidFill>
                  <a:srgbClr val="0000FF"/>
                </a:solidFill>
              </a:rPr>
              <a:t>a neeskaluje do rizikových hodnot. </a:t>
            </a:r>
          </a:p>
        </p:txBody>
      </p:sp>
    </p:spTree>
    <p:extLst>
      <p:ext uri="{BB962C8B-B14F-4D97-AF65-F5344CB8AC3E}">
        <p14:creationId xmlns:p14="http://schemas.microsoft.com/office/powerpoint/2010/main" val="361621233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2212161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6" name="Šipka doprava 5">
            <a:extLst>
              <a:ext uri="{FF2B5EF4-FFF2-40B4-BE49-F238E27FC236}">
                <a16:creationId xmlns:a16="http://schemas.microsoft.com/office/drawing/2014/main" id="{BE8546B1-1A8C-43CB-862F-28081794A8C7}"/>
              </a:ext>
            </a:extLst>
          </p:cNvPr>
          <p:cNvSpPr/>
          <p:nvPr/>
        </p:nvSpPr>
        <p:spPr>
          <a:xfrm>
            <a:off x="8025277" y="5182973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4">
            <a:extLst>
              <a:ext uri="{FF2B5EF4-FFF2-40B4-BE49-F238E27FC236}">
                <a16:creationId xmlns:a16="http://schemas.microsoft.com/office/drawing/2014/main" id="{A0F57D30-5DF1-4B27-B6EB-5EF367CA8B03}"/>
              </a:ext>
            </a:extLst>
          </p:cNvPr>
          <p:cNvSpPr/>
          <p:nvPr/>
        </p:nvSpPr>
        <p:spPr>
          <a:xfrm>
            <a:off x="6196840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C4854121-0D0E-48AA-A160-95AA43D7AE3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36960" y="1713765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eal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8A4E2FB1-6105-4AE3-BD3B-591AD204DCF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36960" y="222111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Optim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7A0DCB76-C6D6-4696-8D6D-E9EDBC2CB47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736960" y="122997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I. Rizikov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3C8C25A9-53F7-48F9-94E9-880BBC7817D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12761" y="2749039"/>
            <a:ext cx="382683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</a:p>
        </p:txBody>
      </p:sp>
      <p:sp>
        <p:nvSpPr>
          <p:cNvPr id="32" name="Rectangle 28">
            <a:extLst>
              <a:ext uri="{FF2B5EF4-FFF2-40B4-BE49-F238E27FC236}">
                <a16:creationId xmlns:a16="http://schemas.microsoft.com/office/drawing/2014/main" id="{5DF712C4-9EF2-4348-91A5-487E06FD138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93759" y="4693079"/>
            <a:ext cx="378505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potvrzuje optimistické scénáře, které předpokládají brždění epidemie posílené o rychlý efekt postupující vakcinace. Rostoucí počet nových nákaz v populaci z počátku července však naznačil potenciál k  zhoršování situace, jistě v důsledku šíření nové varianty viru. Proto jsou v modelech zpracovány i rizikové scénáře vývoje.</a:t>
            </a:r>
          </a:p>
        </p:txBody>
      </p:sp>
      <p:cxnSp>
        <p:nvCxnSpPr>
          <p:cNvPr id="35" name="Přímá spojnice 32">
            <a:extLst>
              <a:ext uri="{FF2B5EF4-FFF2-40B4-BE49-F238E27FC236}">
                <a16:creationId xmlns:a16="http://schemas.microsoft.com/office/drawing/2014/main" id="{6EA031DB-B78B-4ECE-AD1E-89726551208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6116246" y="1863785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3">
            <a:extLst>
              <a:ext uri="{FF2B5EF4-FFF2-40B4-BE49-F238E27FC236}">
                <a16:creationId xmlns:a16="http://schemas.microsoft.com/office/drawing/2014/main" id="{9356E7AA-84D9-4C84-BE21-56B34A4BD0B8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6116246" y="239478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Přímá spojnice 20">
            <a:extLst>
              <a:ext uri="{FF2B5EF4-FFF2-40B4-BE49-F238E27FC236}">
                <a16:creationId xmlns:a16="http://schemas.microsoft.com/office/drawing/2014/main" id="{1BF08FCB-75BF-424B-A50E-ED808339FDBD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116246" y="139084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353BC6EB-C235-4573-A725-0948F12F9BC1}"/>
              </a:ext>
            </a:extLst>
          </p:cNvPr>
          <p:cNvCxnSpPr>
            <a:cxnSpLocks/>
          </p:cNvCxnSpPr>
          <p:nvPr/>
        </p:nvCxnSpPr>
        <p:spPr>
          <a:xfrm flipV="1">
            <a:off x="1031638" y="4839145"/>
            <a:ext cx="6163049" cy="3444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DE892B4C-52B0-4B6E-A5B1-82EF37DD4BC1}"/>
              </a:ext>
            </a:extLst>
          </p:cNvPr>
          <p:cNvCxnSpPr>
            <a:cxnSpLocks/>
          </p:cNvCxnSpPr>
          <p:nvPr/>
        </p:nvCxnSpPr>
        <p:spPr>
          <a:xfrm>
            <a:off x="6975238" y="4663388"/>
            <a:ext cx="0" cy="79200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5FEE066D-6982-4881-855C-FDC2A336DCE2}"/>
              </a:ext>
            </a:extLst>
          </p:cNvPr>
          <p:cNvSpPr txBox="1"/>
          <p:nvPr/>
        </p:nvSpPr>
        <p:spPr>
          <a:xfrm>
            <a:off x="2429551" y="4453030"/>
            <a:ext cx="4307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: projekce hodnot k 20.9. 2021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4B5E725-CCF7-4D9A-AB87-5399CB7470AC}"/>
              </a:ext>
            </a:extLst>
          </p:cNvPr>
          <p:cNvSpPr txBox="1"/>
          <p:nvPr/>
        </p:nvSpPr>
        <p:spPr>
          <a:xfrm>
            <a:off x="1927913" y="1609953"/>
            <a:ext cx="40606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solidFill>
                  <a:srgbClr val="0000FF"/>
                </a:solidFill>
              </a:rPr>
              <a:t>Vývoj sleduje predikce dané realistickým scénářem </a:t>
            </a:r>
          </a:p>
          <a:p>
            <a:r>
              <a:rPr lang="cs-CZ" sz="2400" b="1" dirty="0">
                <a:solidFill>
                  <a:srgbClr val="0000FF"/>
                </a:solidFill>
              </a:rPr>
              <a:t>a neeskaluje do rizikových hodnot. </a:t>
            </a:r>
          </a:p>
        </p:txBody>
      </p:sp>
    </p:spTree>
    <p:extLst>
      <p:ext uri="{BB962C8B-B14F-4D97-AF65-F5344CB8AC3E}">
        <p14:creationId xmlns:p14="http://schemas.microsoft.com/office/powerpoint/2010/main" val="241267633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zemřelých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6216535-8B7F-43D5-81D9-9F3ED2725AE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0815355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6" name="Šipka doprava 5">
            <a:extLst>
              <a:ext uri="{FF2B5EF4-FFF2-40B4-BE49-F238E27FC236}">
                <a16:creationId xmlns:a16="http://schemas.microsoft.com/office/drawing/2014/main" id="{1D72951D-04F2-474E-9DE6-7B2DF7EA3617}"/>
              </a:ext>
            </a:extLst>
          </p:cNvPr>
          <p:cNvSpPr/>
          <p:nvPr/>
        </p:nvSpPr>
        <p:spPr>
          <a:xfrm>
            <a:off x="8025277" y="5182973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4">
            <a:extLst>
              <a:ext uri="{FF2B5EF4-FFF2-40B4-BE49-F238E27FC236}">
                <a16:creationId xmlns:a16="http://schemas.microsoft.com/office/drawing/2014/main" id="{A19503FB-8069-4E48-89E8-237BF29AF218}"/>
              </a:ext>
            </a:extLst>
          </p:cNvPr>
          <p:cNvSpPr/>
          <p:nvPr/>
        </p:nvSpPr>
        <p:spPr>
          <a:xfrm>
            <a:off x="6196840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25" name="TextovéPole 29">
            <a:extLst>
              <a:ext uri="{FF2B5EF4-FFF2-40B4-BE49-F238E27FC236}">
                <a16:creationId xmlns:a16="http://schemas.microsoft.com/office/drawing/2014/main" id="{01F8DB65-9898-4DF7-BB8B-F8693094BCB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36960" y="1713765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eal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TextovéPole 30">
            <a:extLst>
              <a:ext uri="{FF2B5EF4-FFF2-40B4-BE49-F238E27FC236}">
                <a16:creationId xmlns:a16="http://schemas.microsoft.com/office/drawing/2014/main" id="{48E575A4-FF8D-40CC-9953-8E3B7F7E343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736960" y="222111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Optim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7" name="TextovéPole 29">
            <a:extLst>
              <a:ext uri="{FF2B5EF4-FFF2-40B4-BE49-F238E27FC236}">
                <a16:creationId xmlns:a16="http://schemas.microsoft.com/office/drawing/2014/main" id="{D14C25CE-85E7-4DDB-8EC6-CB82C863232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736960" y="122997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I. Rizikov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D5595DBF-38E7-47E2-92CB-5ED0BF15089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12761" y="2749039"/>
            <a:ext cx="382683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D02FFAF-F503-4D26-A163-CA624BB6886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393759" y="4693079"/>
            <a:ext cx="378505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potvrzuje optimistické scénáře, které předpokládají brždění epidemie posílené o rychlý efekt postupující vakcinace. Rostoucí počet nových nákaz v populaci z počátku července však naznačil potenciál k  zhoršování situace, jistě v důsledku šíření nové varianty viru. Proto jsou v modelech zpracovány i rizikové scénáře vývoje.</a:t>
            </a:r>
          </a:p>
        </p:txBody>
      </p:sp>
      <p:cxnSp>
        <p:nvCxnSpPr>
          <p:cNvPr id="30" name="Přímá spojnice 32">
            <a:extLst>
              <a:ext uri="{FF2B5EF4-FFF2-40B4-BE49-F238E27FC236}">
                <a16:creationId xmlns:a16="http://schemas.microsoft.com/office/drawing/2014/main" id="{F7D1BE41-126B-4D9B-B4E9-AD50816AF39A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6116246" y="1863785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33">
            <a:extLst>
              <a:ext uri="{FF2B5EF4-FFF2-40B4-BE49-F238E27FC236}">
                <a16:creationId xmlns:a16="http://schemas.microsoft.com/office/drawing/2014/main" id="{A73D266B-9CFB-487F-AAEE-17B7D904E2EE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116246" y="239478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Přímá spojnice 20">
            <a:extLst>
              <a:ext uri="{FF2B5EF4-FFF2-40B4-BE49-F238E27FC236}">
                <a16:creationId xmlns:a16="http://schemas.microsoft.com/office/drawing/2014/main" id="{09D829D0-CD65-43E2-8EC9-F9BACAAC17E6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6116246" y="139084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7E355160-958F-4811-ADB5-94C5B4225971}"/>
              </a:ext>
            </a:extLst>
          </p:cNvPr>
          <p:cNvCxnSpPr>
            <a:cxnSpLocks/>
          </p:cNvCxnSpPr>
          <p:nvPr/>
        </p:nvCxnSpPr>
        <p:spPr>
          <a:xfrm flipV="1">
            <a:off x="1031638" y="4839145"/>
            <a:ext cx="6163049" cy="3444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B4F3F300-8479-4439-ACC8-2930DE4210D7}"/>
              </a:ext>
            </a:extLst>
          </p:cNvPr>
          <p:cNvCxnSpPr>
            <a:cxnSpLocks/>
          </p:cNvCxnSpPr>
          <p:nvPr/>
        </p:nvCxnSpPr>
        <p:spPr>
          <a:xfrm>
            <a:off x="6975238" y="4663388"/>
            <a:ext cx="0" cy="79200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F86F9E39-7E9A-4668-ABBC-07817C6E71CB}"/>
              </a:ext>
            </a:extLst>
          </p:cNvPr>
          <p:cNvSpPr txBox="1"/>
          <p:nvPr/>
        </p:nvSpPr>
        <p:spPr>
          <a:xfrm>
            <a:off x="2429551" y="4453030"/>
            <a:ext cx="4307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: projekce hodnot k 20.9. 2021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05133ABA-4176-441F-A42D-BD1E27E7A2CB}"/>
              </a:ext>
            </a:extLst>
          </p:cNvPr>
          <p:cNvSpPr txBox="1"/>
          <p:nvPr/>
        </p:nvSpPr>
        <p:spPr>
          <a:xfrm>
            <a:off x="1912675" y="1728245"/>
            <a:ext cx="40606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solidFill>
                  <a:srgbClr val="0000FF"/>
                </a:solidFill>
              </a:rPr>
              <a:t>Vývoj sleduje predikce dané realistickým scénářem </a:t>
            </a:r>
          </a:p>
          <a:p>
            <a:r>
              <a:rPr lang="cs-CZ" sz="2400" b="1" dirty="0">
                <a:solidFill>
                  <a:srgbClr val="0000FF"/>
                </a:solidFill>
              </a:rPr>
              <a:t>a neeskaluje do rizikových hodnot. </a:t>
            </a:r>
          </a:p>
        </p:txBody>
      </p:sp>
    </p:spTree>
    <p:extLst>
      <p:ext uri="{BB962C8B-B14F-4D97-AF65-F5344CB8AC3E}">
        <p14:creationId xmlns:p14="http://schemas.microsoft.com/office/powerpoint/2010/main" val="29667616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85737" y="1240943"/>
            <a:ext cx="11820525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ecný popis celkové situace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pidemie postupně narůstá, trend rostoucí virové zátěže v populaci je významný – avšak významně nižší, než tomu bylo v září roku 2020. Zejména zátěž nemocnic a zdravotní dopad nově prokázaných nákaz je významně nižší. Ačkoli počet hospitalizovaných v těžkém stavu mírně roste, celkově je k 28.9. V ČR takto hospitalizováno 47 pacientů a v žádném z regionů tato zátěž rizikově neeskaluje. Podíl nových případů se symptomy nemoci je rovněž nízký (&lt; 30%) a v čase neroste. Relativní pozitivita indikovaných testů se drží v bezpečných hodnotách pod 5% a v žádném z regionů významně a trvale neroste nad 5%. Většina nově prokázaných případů jsou neočkovaní lidé (80%) a rovněž mezi nemocnými v těžkém stavu převažují neočkovaní (78%)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čkol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je vývoj epidemie stále kontrolovatelný a v důsledku očkování je zdravotní dopad malý, stále existují a v současnosti se i projevují rizikové faktory, které signalizují pravděpodobné zhoršení situace na podzim. Nemělo by jít o dopad srovnatelný s rokem 2020, ale vzhledem k vysoké nakažlivosti dominantní Delta varianty viru nelze tyto faktory podceňovat – viz následující stručný výčet v bodech. </a:t>
            </a: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83653" y="211731"/>
            <a:ext cx="11618346" cy="62864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UČNÝ SOUHRN 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amp;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RIZIKOVÉ FAKTORY</a:t>
            </a:r>
          </a:p>
        </p:txBody>
      </p:sp>
    </p:spTree>
    <p:extLst>
      <p:ext uri="{BB962C8B-B14F-4D97-AF65-F5344CB8AC3E}">
        <p14:creationId xmlns:p14="http://schemas.microsoft.com/office/powerpoint/2010/main" val="166930139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rovnávací „</a:t>
            </a:r>
            <a:r>
              <a:rPr lang="cs-CZ" sz="4800" b="1" dirty="0" err="1"/>
              <a:t>kalib</a:t>
            </a:r>
            <a:r>
              <a:rPr lang="en-US" sz="4800" b="1" dirty="0"/>
              <a:t>r</a:t>
            </a:r>
            <a:r>
              <a:rPr lang="cs-CZ" sz="4800" b="1" dirty="0" err="1"/>
              <a:t>ační</a:t>
            </a:r>
            <a:r>
              <a:rPr lang="cs-CZ" sz="4800" b="1" dirty="0"/>
              <a:t>“ grafy </a:t>
            </a:r>
          </a:p>
          <a:p>
            <a:r>
              <a:rPr lang="cs-CZ" sz="4800" b="1" dirty="0"/>
              <a:t>vývoje 2020 vs. 2021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10846197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</p:spTree>
    <p:extLst>
      <p:ext uri="{BB962C8B-B14F-4D97-AF65-F5344CB8AC3E}">
        <p14:creationId xmlns:p14="http://schemas.microsoft.com/office/powerpoint/2010/main" val="42012244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851634" y="908488"/>
          <a:ext cx="5527038" cy="2681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655" y="2690336"/>
            <a:ext cx="93501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BE85EA2A-2F90-4CE3-9A5A-1281E5B8F50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26068" y="590950"/>
            <a:ext cx="11781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-4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y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9" name="Graf 18">
            <a:extLst>
              <a:ext uri="{FF2B5EF4-FFF2-40B4-BE49-F238E27FC236}">
                <a16:creationId xmlns:a16="http://schemas.microsoft.com/office/drawing/2014/main" id="{3778CBDA-0F9D-4A8D-92EA-C9689373FD80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6321669" y="945334"/>
          <a:ext cx="5527038" cy="2681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7" name="TextovéPole 26">
            <a:extLst>
              <a:ext uri="{FF2B5EF4-FFF2-40B4-BE49-F238E27FC236}">
                <a16:creationId xmlns:a16="http://schemas.microsoft.com/office/drawing/2014/main" id="{6BC52D39-781C-447F-B74C-6B967FEDA3D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07629" y="590950"/>
            <a:ext cx="11781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-11 let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36A9BEDB-17BA-4728-A6CE-F2A294C3250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2945520" y="3527936"/>
            <a:ext cx="11781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-19 let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CF2D9F1A-AF84-4C3A-ABFE-B21F797346C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496103" y="3507766"/>
            <a:ext cx="11781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-34 let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0" name="Graf 29">
            <a:extLst>
              <a:ext uri="{FF2B5EF4-FFF2-40B4-BE49-F238E27FC236}">
                <a16:creationId xmlns:a16="http://schemas.microsoft.com/office/drawing/2014/main" id="{82EC9AF0-B86E-4C4E-8BA8-11CB823BAD87}"/>
              </a:ext>
            </a:extLst>
          </p:cNvPr>
          <p:cNvGraphicFramePr/>
          <p:nvPr>
            <p:custDataLst>
              <p:tags r:id="rId9"/>
            </p:custDataLst>
          </p:nvPr>
        </p:nvGraphicFramePr>
        <p:xfrm>
          <a:off x="794631" y="3789756"/>
          <a:ext cx="5527038" cy="2681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1" name="Graf 30">
            <a:extLst>
              <a:ext uri="{FF2B5EF4-FFF2-40B4-BE49-F238E27FC236}">
                <a16:creationId xmlns:a16="http://schemas.microsoft.com/office/drawing/2014/main" id="{75EF5DB1-AD24-4CA3-852F-D3C5928A4D86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6321669" y="3789756"/>
          <a:ext cx="5527038" cy="2681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</p:spTree>
    <p:extLst>
      <p:ext uri="{BB962C8B-B14F-4D97-AF65-F5344CB8AC3E}">
        <p14:creationId xmlns:p14="http://schemas.microsoft.com/office/powerpoint/2010/main" val="249898305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851634" y="908488"/>
          <a:ext cx="5527038" cy="2681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655" y="2690336"/>
            <a:ext cx="93501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BE85EA2A-2F90-4CE3-9A5A-1281E5B8F50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26068" y="590950"/>
            <a:ext cx="11781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5-49 let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9" name="Graf 18">
            <a:extLst>
              <a:ext uri="{FF2B5EF4-FFF2-40B4-BE49-F238E27FC236}">
                <a16:creationId xmlns:a16="http://schemas.microsoft.com/office/drawing/2014/main" id="{3778CBDA-0F9D-4A8D-92EA-C9689373FD80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6321669" y="945334"/>
          <a:ext cx="5527038" cy="2681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7" name="TextovéPole 26">
            <a:extLst>
              <a:ext uri="{FF2B5EF4-FFF2-40B4-BE49-F238E27FC236}">
                <a16:creationId xmlns:a16="http://schemas.microsoft.com/office/drawing/2014/main" id="{6BC52D39-781C-447F-B74C-6B967FEDA3D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07629" y="590950"/>
            <a:ext cx="11781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0-64 let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36A9BEDB-17BA-4728-A6CE-F2A294C3250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2945520" y="3527936"/>
            <a:ext cx="11781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5-75 let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CF2D9F1A-AF84-4C3A-ABFE-B21F797346C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496103" y="3507766"/>
            <a:ext cx="11781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5+ let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0" name="Graf 29">
            <a:extLst>
              <a:ext uri="{FF2B5EF4-FFF2-40B4-BE49-F238E27FC236}">
                <a16:creationId xmlns:a16="http://schemas.microsoft.com/office/drawing/2014/main" id="{82EC9AF0-B86E-4C4E-8BA8-11CB823BAD87}"/>
              </a:ext>
            </a:extLst>
          </p:cNvPr>
          <p:cNvGraphicFramePr/>
          <p:nvPr>
            <p:custDataLst>
              <p:tags r:id="rId9"/>
            </p:custDataLst>
          </p:nvPr>
        </p:nvGraphicFramePr>
        <p:xfrm>
          <a:off x="794631" y="3789756"/>
          <a:ext cx="5527038" cy="2681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1" name="Graf 30">
            <a:extLst>
              <a:ext uri="{FF2B5EF4-FFF2-40B4-BE49-F238E27FC236}">
                <a16:creationId xmlns:a16="http://schemas.microsoft.com/office/drawing/2014/main" id="{75EF5DB1-AD24-4CA3-852F-D3C5928A4D86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6321669" y="3789756"/>
          <a:ext cx="5527038" cy="2681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</p:spTree>
    <p:extLst>
      <p:ext uri="{BB962C8B-B14F-4D97-AF65-F5344CB8AC3E}">
        <p14:creationId xmlns:p14="http://schemas.microsoft.com/office/powerpoint/2010/main" val="305936050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(absolutní počty)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11892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310" y="3137689"/>
            <a:ext cx="125485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</a:t>
            </a:r>
          </a:p>
        </p:txBody>
      </p:sp>
    </p:spTree>
    <p:extLst>
      <p:ext uri="{BB962C8B-B14F-4D97-AF65-F5344CB8AC3E}">
        <p14:creationId xmlns:p14="http://schemas.microsoft.com/office/powerpoint/2010/main" val="186406092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186615" cy="576000"/>
          </a:xfrm>
        </p:spPr>
        <p:txBody>
          <a:bodyPr/>
          <a:lstStyle/>
          <a:p>
            <a:r>
              <a:rPr lang="cs-CZ" dirty="0"/>
              <a:t>Počty </a:t>
            </a:r>
            <a:r>
              <a:rPr lang="en-US" dirty="0" err="1"/>
              <a:t>sy</a:t>
            </a:r>
            <a:r>
              <a:rPr lang="cs-CZ" dirty="0"/>
              <a:t>m</a:t>
            </a:r>
            <a:r>
              <a:rPr lang="en-US" dirty="0" err="1"/>
              <a:t>ptomatic</a:t>
            </a:r>
            <a:r>
              <a:rPr lang="cs-CZ" dirty="0" err="1"/>
              <a:t>kých</a:t>
            </a:r>
            <a:r>
              <a:rPr lang="cs-CZ" dirty="0"/>
              <a:t> případů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565031" y="97618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2134106"/>
            <a:ext cx="170497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y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tomatic</a:t>
            </a:r>
            <a:r>
              <a:rPr kumimoji="0" lang="cs-CZ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ých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případů COVID-19 na 100 000 osob v dané věkové skupině v populaci (suma za celý časový úsek)</a:t>
            </a:r>
          </a:p>
        </p:txBody>
      </p:sp>
    </p:spTree>
    <p:extLst>
      <p:ext uri="{BB962C8B-B14F-4D97-AF65-F5344CB8AC3E}">
        <p14:creationId xmlns:p14="http://schemas.microsoft.com/office/powerpoint/2010/main" val="144860412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Relativní pozitivita PCR testů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286012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310" y="3137689"/>
            <a:ext cx="125485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PCR testů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802152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0"/>
            <a:ext cx="10186615" cy="576000"/>
          </a:xfrm>
        </p:spPr>
        <p:txBody>
          <a:bodyPr/>
          <a:lstStyle/>
          <a:p>
            <a:r>
              <a:rPr lang="cs-CZ" dirty="0"/>
              <a:t>7denní číslo 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2960583"/>
            <a:ext cx="15650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denní R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F0940627-B539-448F-BD6F-5C7B63E6A7B0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1322168" y="111892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7492739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0"/>
            <a:ext cx="10186615" cy="576000"/>
          </a:xfrm>
        </p:spPr>
        <p:txBody>
          <a:bodyPr/>
          <a:lstStyle/>
          <a:p>
            <a:r>
              <a:rPr lang="cs-CZ" dirty="0"/>
              <a:t>Denní nové příjmy do nemocnic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2960583"/>
            <a:ext cx="15650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nové příjmy do nemocnic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F0940627-B539-448F-BD6F-5C7B63E6A7B0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1322168" y="111892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9644612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0"/>
            <a:ext cx="10186615" cy="576000"/>
          </a:xfrm>
        </p:spPr>
        <p:txBody>
          <a:bodyPr/>
          <a:lstStyle/>
          <a:p>
            <a:r>
              <a:rPr lang="cs-CZ" dirty="0"/>
              <a:t>Denní nové příjmy na JIP 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2960583"/>
            <a:ext cx="156503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nové příjmy na JIP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F0940627-B539-448F-BD6F-5C7B63E6A7B0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1322168" y="111892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620722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87822" y="736959"/>
            <a:ext cx="11820525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á proočkovanost populace stále není dostatečná a v populaci existuje minimálně cca 30% vnímavých osob, které se mohou snadno nakazit. Bohužel jde i o značně velkou kohortu seniorních a potenciálně zranitelných osob (cca 420 000 ve věku 60+ a cca 280 000 ve věku 65+).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&gt; V posledních dvou týdnech narůstá počet nově nakažených seniorů. Nejde sice o trvalou rizikovou eskalaci, ale jde o trend, který může směrem do podzimu sílit. Cca 60% nově nakažených ve věku 65+ jsou neočkovaní.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 populace ve střením a mladém věku (15 – 40 let) je stále nízká (cca 50%) a otevírá tak „bránu“ k šíření nemoci mezi příslušníky nejvíce aktivní generace, tedy k šíření nejen při sociálních a volnočasových interakcích, ale i na pracoviští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09625" algn="l"/>
              </a:tabLst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-&gt; V posledních dvou týdnech narůstá zátěž populace ve věku 30 – 50 let, opět převážně mezi neočkovanými osobami. 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 startAt="3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 nejvíce zranitelných skupin osob se částečně projevuje vyčerpání ochranného efektu vakcinace. Mezi hospitalizovanými v těžkém stavu po dokončeném očkování převažují velmi seniorní ročníky, pacienti s řadou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lymorbidi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Nárůsty jsou zatím ve srovnání s létem velmi malé, denní příjmy takových pacientů jsou stále v jednotkách týdne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 startAt="3"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 startAt="3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okrajových částech republiky, zejména v moravských krajích, stále evidujeme oblasti s rizikovou kumulací málo proočkovaných obcí – tyto lokality mohou být zárodkem lokálních plošných ohnisek nákazy v podzimních měsících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 startAt="3"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 startAt="3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není ve všech regionech vyrovnaný, nejvíce rizikových trendů vykazuje z řady očekávatelných důvodů Praha, dále opět populačně velké regiony s velkou migrací (za prací, do škol) jako je MSK a částečně JMK, a dále kraj Jihočeský, kde může jít o částečný vliv migrace za prací do zahraničí. Problémem jsou také nákazy u cizinců prokázané na území ČR, a to zejména </a:t>
            </a: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raze.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83653" y="211731"/>
            <a:ext cx="11618346" cy="62864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UČNÝ SOUHRN 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amp;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RIZIKOVÉ FAKTORY</a:t>
            </a:r>
          </a:p>
        </p:txBody>
      </p:sp>
    </p:spTree>
    <p:extLst>
      <p:ext uri="{BB962C8B-B14F-4D97-AF65-F5344CB8AC3E}">
        <p14:creationId xmlns:p14="http://schemas.microsoft.com/office/powerpoint/2010/main" val="213249226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0"/>
            <a:ext cx="10186615" cy="576000"/>
          </a:xfrm>
        </p:spPr>
        <p:txBody>
          <a:bodyPr/>
          <a:lstStyle/>
          <a:p>
            <a:pPr lvl="0" fontAlgn="b">
              <a:defRPr/>
            </a:pPr>
            <a:r>
              <a:rPr lang="cs-CZ" dirty="0"/>
              <a:t>Počet hospitalizovaných s Covid-19 v nemocnicích</a:t>
            </a:r>
            <a:endParaRPr lang="cs-CZ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1924" y="2351782"/>
            <a:ext cx="147637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hospitalizovaných s Covid-19 </a:t>
            </a:r>
          </a:p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nemocnicích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F0940627-B539-448F-BD6F-5C7B63E6A7B0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1530157" y="1171683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814608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0"/>
            <a:ext cx="10186615" cy="576000"/>
          </a:xfrm>
        </p:spPr>
        <p:txBody>
          <a:bodyPr/>
          <a:lstStyle/>
          <a:p>
            <a:pPr lvl="0" fontAlgn="b">
              <a:defRPr/>
            </a:pPr>
            <a:r>
              <a:rPr lang="cs-CZ" dirty="0"/>
              <a:t>Počet hospitalizovaných na JIP s Covid-19 v nemocnicích</a:t>
            </a:r>
            <a:endParaRPr lang="cs-CZ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70338" y="2351782"/>
            <a:ext cx="1521069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hospitalizovaných na JIP s Covid-19 v nemocnicích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F0940627-B539-448F-BD6F-5C7B63E6A7B0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1530157" y="1171683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187374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85737" y="955193"/>
            <a:ext cx="11820525" cy="7478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2000" b="1" u="sng" dirty="0"/>
              <a:t>Nárůst počtu nových pozitivních případů na podzim lze významně zpomalit pouze očkováním</a:t>
            </a:r>
            <a:r>
              <a:rPr lang="cs-CZ" sz="2000" dirty="0"/>
              <a:t>, zejména vyšším proočkováním mladé populace a populace v produktivním věku. Při stávajícím úplném rozvolnění většiny opatření bude postup vakcinace rozhodujícím faktorem, proto scénáře predikcí pracují s různými variantami postupu očkování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dirty="0">
              <a:latin typeface="Calibri" panose="020F0502020204030204"/>
            </a:endParaRPr>
          </a:p>
          <a:p>
            <a:pPr marL="342900" indent="-342900">
              <a:buFont typeface="Wingdings" panose="05000000000000000000" pitchFamily="2" charset="2"/>
              <a:buChar char="q"/>
              <a:defRPr/>
            </a:pPr>
            <a:r>
              <a:rPr lang="cs-CZ" sz="2000" b="1" dirty="0">
                <a:solidFill>
                  <a:srgbClr val="3333CC"/>
                </a:solidFill>
              </a:rPr>
              <a:t>Optimistické scénáře predikcí počítaly s proočkováním populace 16+ ke konci srpna či v září až na úroveň 80%. </a:t>
            </a:r>
            <a:r>
              <a:rPr lang="cs-CZ" sz="2000" dirty="0"/>
              <a:t>V takovém případě by počty nově nakažených osob nadále zůstávaly v rozsahu do 500 denně; očkování má potenciál zpomalit další šíření epidemie a minimalizovat zdravotní dopad na zranitelnou populaci. Vysoká úroveň proočkovanosti zpomalí i postup nové varianty viru – Delta. </a:t>
            </a:r>
          </a:p>
          <a:p>
            <a:pPr marL="342900" indent="-342900">
              <a:buFont typeface="Wingdings" panose="05000000000000000000" pitchFamily="2" charset="2"/>
              <a:buChar char="q"/>
              <a:defRPr/>
            </a:pPr>
            <a:endParaRPr lang="cs-CZ" sz="2000" dirty="0"/>
          </a:p>
          <a:p>
            <a:pPr marL="342900" indent="-342900">
              <a:buFont typeface="Wingdings" panose="05000000000000000000" pitchFamily="2" charset="2"/>
              <a:buChar char="q"/>
              <a:defRPr/>
            </a:pPr>
            <a:r>
              <a:rPr lang="cs-CZ" sz="2000" b="1" dirty="0">
                <a:solidFill>
                  <a:srgbClr val="C00000"/>
                </a:solidFill>
              </a:rPr>
              <a:t>Nejrizikovější scénáře pracují s rychlým šířením nové nakažlivější varianty viru a se zpomaleným očkováním, kdy na konci srpna nebo v září bude dosaženo maximálně cca 60% proočkovanosti populace 16+. </a:t>
            </a:r>
            <a:r>
              <a:rPr lang="cs-CZ" sz="2000" dirty="0"/>
              <a:t>V takovém případě existuje v populaci stále potenciál k růstu epidemie a počty nově diagnostikovaných jedinců by mohly vystoupat vysoce nad 1000. Ačkoli by se nákaza primárně šířila zejména v mladé, málo proočkované, populaci, hrozil by sekundární zásah nenaočkovaných seniorů nebo zranitelných osob, jejichž imunitní ochrana nemusí být dlouhodobě trvalá ani po očkování (většina této populace byla očkována již v lednu a únoru 2021, snížení ochrany po více než 9 měsících nelze vyloučit). </a:t>
            </a:r>
          </a:p>
          <a:p>
            <a:pPr marL="342900" indent="-342900">
              <a:buFont typeface="Wingdings" panose="05000000000000000000" pitchFamily="2" charset="2"/>
              <a:buChar char="q"/>
              <a:defRPr/>
            </a:pPr>
            <a:endParaRPr lang="cs-CZ" sz="2000" dirty="0"/>
          </a:p>
          <a:p>
            <a:pPr marL="342900" indent="-342900">
              <a:buFont typeface="Wingdings" panose="05000000000000000000" pitchFamily="2" charset="2"/>
              <a:buChar char="q"/>
              <a:defRPr/>
            </a:pPr>
            <a:endParaRPr lang="cs-CZ" sz="2000" dirty="0"/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b="1" dirty="0">
              <a:latin typeface="Calibri" panose="020F0502020204030204"/>
            </a:endParaRPr>
          </a:p>
          <a:p>
            <a:pPr>
              <a:defRPr/>
            </a:pPr>
            <a:endParaRPr lang="cs-CZ" sz="2000" dirty="0"/>
          </a:p>
          <a:p>
            <a:pPr>
              <a:defRPr/>
            </a:pPr>
            <a:endParaRPr lang="cs-CZ" sz="2000" dirty="0"/>
          </a:p>
          <a:p>
            <a:pPr>
              <a:defRPr/>
            </a:pPr>
            <a:endParaRPr kumimoji="0" lang="cs-CZ" sz="2000" i="0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83653" y="211731"/>
            <a:ext cx="11618346" cy="62864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HRN </a:t>
            </a:r>
          </a:p>
        </p:txBody>
      </p:sp>
    </p:spTree>
    <p:extLst>
      <p:ext uri="{BB962C8B-B14F-4D97-AF65-F5344CB8AC3E}">
        <p14:creationId xmlns:p14="http://schemas.microsoft.com/office/powerpoint/2010/main" val="20835263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85737" y="1945793"/>
            <a:ext cx="11820525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stoucí počet nově nakažených osob na podzim nemusí nutně významně zvyšovat zátěž nemocnic, pokud se podaří co nejvíce proočkovat seniorní a potenciálně zranitelnou část populace</a:t>
            </a:r>
            <a:r>
              <a:rPr lang="cs-CZ" sz="2000" b="1" u="sng" dirty="0">
                <a:latin typeface="Calibri" panose="020F0502020204030204"/>
              </a:rPr>
              <a:t> a pokud se udrží účinná ochranná preventivní opatření. </a:t>
            </a:r>
            <a:endParaRPr kumimoji="0" lang="cs-CZ" sz="2000" i="0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sng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000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ČR je stále cca 510 000 neočkovaných osob ve věku 60+</a:t>
            </a:r>
            <a:r>
              <a:rPr kumimoji="0" lang="cs-CZ" sz="20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cca 80% populace 60+ je již očkována alespoň jednou dávkou). Z retrospektivní analýzy vyplývá, že u cca </a:t>
            </a:r>
            <a:r>
              <a:rPr lang="cs-CZ" sz="2000" dirty="0">
                <a:latin typeface="Calibri" panose="020F0502020204030204"/>
              </a:rPr>
              <a:t>89</a:t>
            </a:r>
            <a:r>
              <a:rPr kumimoji="0" lang="cs-CZ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000 těchto osob lze předpokládat přirozenou ochranu danou proděláním nemoci. </a:t>
            </a:r>
            <a:r>
              <a:rPr lang="cs-CZ" sz="2000" b="1" u="sng" dirty="0">
                <a:solidFill>
                  <a:srgbClr val="C00000"/>
                </a:solidFill>
                <a:latin typeface="Calibri" panose="020F0502020204030204"/>
              </a:rPr>
              <a:t>Stále tedy zbývá vysoký počet potenciálně zranitelných osob (cca 416 000), které jsou z velké části primárně naivní vůči nákaze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/>
              </a:rPr>
              <a:t>. </a:t>
            </a:r>
            <a:r>
              <a:rPr lang="cs-CZ" sz="2000" dirty="0">
                <a:latin typeface="Calibri" panose="020F0502020204030204"/>
              </a:rPr>
              <a:t>Dle populačních statistik více než 60% těchto osob trpí jednou či více chronickými chorobami, které jejich potenciální zranitelnost zvyšují. Situaci může komplikovat i časový vývoj – tedy ztráta nebo částečné snížení imunitní ochrany u velmi seniorní a </a:t>
            </a:r>
            <a:r>
              <a:rPr lang="cs-CZ" sz="2000" dirty="0" err="1">
                <a:latin typeface="Calibri" panose="020F0502020204030204"/>
              </a:rPr>
              <a:t>polymorbidní</a:t>
            </a:r>
            <a:r>
              <a:rPr lang="cs-CZ" sz="2000" dirty="0">
                <a:latin typeface="Calibri" panose="020F0502020204030204"/>
              </a:rPr>
              <a:t> populace, která byla očkována v 1. fázi vakcinace (leden – únor 2021 -&gt; na podzim to bude již déle než 8 – 9 měsíců, síla ochrany může u nemocných a starých lidí klesat). </a:t>
            </a: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83653" y="211731"/>
            <a:ext cx="11618346" cy="6286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důvody, proč predikce stále kalkuluj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značnou mírou rizika a s možností eskalace nákazy</a:t>
            </a:r>
          </a:p>
        </p:txBody>
      </p:sp>
    </p:spTree>
    <p:extLst>
      <p:ext uri="{BB962C8B-B14F-4D97-AF65-F5344CB8AC3E}">
        <p14:creationId xmlns:p14="http://schemas.microsoft.com/office/powerpoint/2010/main" val="29115504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důvody, proč predikce stále kalkuluj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značnou mírou rizika a s možností eskalace nákazy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C98192F-424C-4647-82A6-411F6943FFF9}"/>
              </a:ext>
            </a:extLst>
          </p:cNvPr>
          <p:cNvSpPr txBox="1"/>
          <p:nvPr/>
        </p:nvSpPr>
        <p:spPr>
          <a:xfrm>
            <a:off x="397832" y="5944798"/>
            <a:ext cx="114217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i="1" dirty="0"/>
              <a:t>Dokončení očkování seniorní populace a populace chronicky nemocných osob je zásadním faktorem, který bude determinovat zdravotní dopad šíření nákazy na podzim 2021.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ADECBA86-9838-4FD9-8720-AF827356F3A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097061"/>
              </p:ext>
            </p:extLst>
          </p:nvPr>
        </p:nvGraphicFramePr>
        <p:xfrm>
          <a:off x="1794891" y="1530666"/>
          <a:ext cx="3798951" cy="5676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98951">
                  <a:extLst>
                    <a:ext uri="{9D8B030D-6E8A-4147-A177-3AD203B41FA5}">
                      <a16:colId xmlns:a16="http://schemas.microsoft.com/office/drawing/2014/main" val="3588119763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ES" sz="1800" b="1" u="none" strike="noStrike" dirty="0">
                          <a:effectLst/>
                        </a:rPr>
                        <a:t>Osoby ve věku 60</a:t>
                      </a:r>
                      <a:r>
                        <a:rPr lang="cs-CZ" sz="1800" b="1" u="none" strike="noStrike" dirty="0">
                          <a:effectLst/>
                        </a:rPr>
                        <a:t> </a:t>
                      </a:r>
                      <a:r>
                        <a:rPr lang="es-ES" sz="1800" b="1" u="none" strike="noStrike" dirty="0">
                          <a:effectLst/>
                        </a:rPr>
                        <a:t>a více let</a:t>
                      </a:r>
                      <a:endParaRPr lang="es-E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305612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u="none" strike="noStrike" dirty="0">
                          <a:effectLst/>
                        </a:rPr>
                        <a:t>Stav k 25.</a:t>
                      </a:r>
                      <a:r>
                        <a:rPr lang="en-US" sz="1800" b="1" u="none" strike="noStrike" dirty="0">
                          <a:effectLst/>
                        </a:rPr>
                        <a:t>9</a:t>
                      </a:r>
                      <a:r>
                        <a:rPr lang="cs-CZ" sz="1800" b="1" u="none" strike="noStrike" dirty="0">
                          <a:effectLst/>
                        </a:rPr>
                        <a:t>.2021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354566"/>
                  </a:ext>
                </a:extLst>
              </a:tr>
            </a:tbl>
          </a:graphicData>
        </a:graphic>
      </p:graphicFrame>
      <p:sp>
        <p:nvSpPr>
          <p:cNvPr id="6" name="Šipka dolů 5"/>
          <p:cNvSpPr/>
          <p:nvPr>
            <p:custDataLst>
              <p:tags r:id="rId3"/>
            </p:custDataLst>
          </p:nvPr>
        </p:nvSpPr>
        <p:spPr>
          <a:xfrm>
            <a:off x="5164700" y="1419797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2792276-C86E-4A95-898F-2D4B465F6D5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66425167"/>
              </p:ext>
            </p:extLst>
          </p:nvPr>
        </p:nvGraphicFramePr>
        <p:xfrm>
          <a:off x="1794891" y="2317404"/>
          <a:ext cx="7454900" cy="3238500"/>
        </p:xfrm>
        <a:graphic>
          <a:graphicData uri="http://schemas.openxmlformats.org/drawingml/2006/table">
            <a:tbl>
              <a:tblPr/>
              <a:tblGrid>
                <a:gridCol w="1711584">
                  <a:extLst>
                    <a:ext uri="{9D8B030D-6E8A-4147-A177-3AD203B41FA5}">
                      <a16:colId xmlns:a16="http://schemas.microsoft.com/office/drawing/2014/main" val="1537244959"/>
                    </a:ext>
                  </a:extLst>
                </a:gridCol>
                <a:gridCol w="1435829">
                  <a:extLst>
                    <a:ext uri="{9D8B030D-6E8A-4147-A177-3AD203B41FA5}">
                      <a16:colId xmlns:a16="http://schemas.microsoft.com/office/drawing/2014/main" val="1185712015"/>
                    </a:ext>
                  </a:extLst>
                </a:gridCol>
                <a:gridCol w="1435829">
                  <a:extLst>
                    <a:ext uri="{9D8B030D-6E8A-4147-A177-3AD203B41FA5}">
                      <a16:colId xmlns:a16="http://schemas.microsoft.com/office/drawing/2014/main" val="1113254191"/>
                    </a:ext>
                  </a:extLst>
                </a:gridCol>
                <a:gridCol w="1435829">
                  <a:extLst>
                    <a:ext uri="{9D8B030D-6E8A-4147-A177-3AD203B41FA5}">
                      <a16:colId xmlns:a16="http://schemas.microsoft.com/office/drawing/2014/main" val="2097642155"/>
                    </a:ext>
                  </a:extLst>
                </a:gridCol>
                <a:gridCol w="1435829">
                  <a:extLst>
                    <a:ext uri="{9D8B030D-6E8A-4147-A177-3AD203B41FA5}">
                      <a16:colId xmlns:a16="http://schemas.microsoft.com/office/drawing/2014/main" val="4045038565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pula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aní alespoň jednou dávkou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očkovaní, prodělali onemocněn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11205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 3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 089 (83,6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787 (2,8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3 515 (13,6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1601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 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 023 (84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160 (3,0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2 582 (12,7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29017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6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640 (83,4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80 (2,9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3 882 (13,7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70836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 8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 249 (81,8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97 (3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3 469 (15,0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463773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3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452 (78,7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53 (3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4 241 (17,9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865102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5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 056 (80,8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59 (3,2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3 816 (16,1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114611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6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383 (80,7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60 (3,6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8 107 (15,7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987924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1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 519 (82,7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17 (3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1 499 (13,9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433373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6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366 (82,5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46 (3,5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9 476 (14,0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607544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0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285 (85,0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72 (2,9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6 748 (12,1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560079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 0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86 (80,8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70 (2,8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1 047 (16,4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803795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 7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853 (79,1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33 (3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0 235 (17,6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47921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4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 442 (79,9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08 (3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6 659 (16,7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58751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 7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 799 (77,7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77 (3,5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9 850 (18,8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928754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83 7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79 031 (81,9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097 (3,2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16 659 (15,0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17291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13883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612179" y="2027564"/>
            <a:ext cx="10967642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ČR stále pracuje relativně vysoký počet zdravotnických pracovníků a pracovníků pobytových sociálních služeb bez vakcinace. Jde o profese vysoce rizikové pro šíření nákazy mezi potenciálně zranitelnými pacienty či klienty těchto služeb. Proočkovanost zdravotnických profesionálů je celkově cca 70% a dle dostupných dat odmítá očkování až 30% pracovníků sociálních služeb.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b="1" dirty="0">
              <a:solidFill>
                <a:srgbClr val="C00000"/>
              </a:solidFill>
              <a:latin typeface="Calibri" panose="020F0502020204030204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</a:t>
            </a:r>
            <a:r>
              <a:rPr kumimoji="0" lang="cs-CZ" sz="2000" b="1" i="0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ímt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/>
              </a:rPr>
              <a:t>o faktem souvisí riziko zásahu zranitelných skupin obyvatel a následného zvýšení vážné nemocnosti v důsledku šíření COVID-19 na podzim. Nově dominantní varianta Delta je přitom až 2x nakažlivější než původní varianta viru z jara 2020, riziko snadného šíření nákazy je významné. </a:t>
            </a:r>
            <a:endParaRPr kumimoji="0" lang="cs-CZ" sz="2000" b="1" i="0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164700" y="1419797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důvody, proč predikce stále kalkuluj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značnou mírou rizika a s možností eskalace nákazy</a:t>
            </a:r>
          </a:p>
        </p:txBody>
      </p:sp>
      <p:sp>
        <p:nvSpPr>
          <p:cNvPr id="12" name="Šipka dolů 5">
            <a:extLst>
              <a:ext uri="{FF2B5EF4-FFF2-40B4-BE49-F238E27FC236}">
                <a16:creationId xmlns:a16="http://schemas.microsoft.com/office/drawing/2014/main" id="{902FC3E1-0405-49C2-A95C-429D795A0911}"/>
              </a:ext>
            </a:extLst>
          </p:cNvPr>
          <p:cNvSpPr/>
          <p:nvPr/>
        </p:nvSpPr>
        <p:spPr>
          <a:xfrm>
            <a:off x="5155175" y="4830436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C98192F-424C-4647-82A6-411F6943FFF9}"/>
              </a:ext>
            </a:extLst>
          </p:cNvPr>
          <p:cNvSpPr txBox="1"/>
          <p:nvPr/>
        </p:nvSpPr>
        <p:spPr>
          <a:xfrm>
            <a:off x="474582" y="5515878"/>
            <a:ext cx="110491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i="1" dirty="0"/>
              <a:t>Dosažení vyšší proočkovanosti zdravotníků a pracovníků sociálních služeb a včasné zavedení preventivních opatření v těchto službách je zásadním faktorem pro snížení rizika vážné nemocnosti. </a:t>
            </a:r>
          </a:p>
        </p:txBody>
      </p:sp>
    </p:spTree>
    <p:extLst>
      <p:ext uri="{BB962C8B-B14F-4D97-AF65-F5344CB8AC3E}">
        <p14:creationId xmlns:p14="http://schemas.microsoft.com/office/powerpoint/2010/main" val="17638423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2488E7D-BBBA-434F-B593-669897479465}"/>
              </a:ext>
            </a:extLst>
          </p:cNvPr>
          <p:cNvSpPr/>
          <p:nvPr/>
        </p:nvSpPr>
        <p:spPr>
          <a:xfrm>
            <a:off x="1733551" y="655652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nahlášených do NZIS (Národní registr zdravotnických pracovníků – NRZP) poskytovateli zdravotních služeb jako aktivní v období od 1.6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5. 9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/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0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5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9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9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 0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 2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6 7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8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True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4.xml><?xml version="1.0" encoding="utf-8"?>
<a:theme xmlns:a="http://schemas.openxmlformats.org/drawingml/2006/main" name="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5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9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7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393</TotalTime>
  <Words>5157</Words>
  <Application>Microsoft Office PowerPoint</Application>
  <PresentationFormat>Širokoúhlá obrazovka</PresentationFormat>
  <Paragraphs>471</Paragraphs>
  <Slides>41</Slides>
  <Notes>5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6</vt:i4>
      </vt:variant>
      <vt:variant>
        <vt:lpstr>Nadpisy snímků</vt:lpstr>
      </vt:variant>
      <vt:variant>
        <vt:i4>41</vt:i4>
      </vt:variant>
    </vt:vector>
  </HeadingPairs>
  <TitlesOfParts>
    <vt:vector size="54" baseType="lpstr">
      <vt:lpstr>Arial</vt:lpstr>
      <vt:lpstr>Arial (Základní text)</vt:lpstr>
      <vt:lpstr>Arial Black</vt:lpstr>
      <vt:lpstr>Calibri</vt:lpstr>
      <vt:lpstr>Calibri Light</vt:lpstr>
      <vt:lpstr>Segoe UI</vt:lpstr>
      <vt:lpstr>Wingdings</vt:lpstr>
      <vt:lpstr>Motiv Office</vt:lpstr>
      <vt:lpstr>1_Motiv systému Office</vt:lpstr>
      <vt:lpstr>2_Motiv Office</vt:lpstr>
      <vt:lpstr>3_Motiv Office</vt:lpstr>
      <vt:lpstr>1_Motiv Office</vt:lpstr>
      <vt:lpstr>9_Motiv Office</vt:lpstr>
      <vt:lpstr>Datová a informační základna  pro management pandemie COVID-19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Očkovaní aktivní zdravotničtí pracovníci</vt:lpstr>
      <vt:lpstr>Prezentace aplikace PowerPoint</vt:lpstr>
      <vt:lpstr>16 a více let: podíl osob očkovaných alespoň 1 dávkou</vt:lpstr>
      <vt:lpstr>16 a více let: podíl osob očkovaných alespoň 1 dávkou</vt:lpstr>
      <vt:lpstr>60 a více let: podíl osob očkovaných alespoň 1 dávkou</vt:lpstr>
      <vt:lpstr>Prezentace aplikace PowerPoint</vt:lpstr>
      <vt:lpstr>Datová a informační základna  pro management pandemie COVID-19</vt:lpstr>
      <vt:lpstr>Prezentace aplikace PowerPoint</vt:lpstr>
      <vt:lpstr>Prezentace aplikace PowerPoint</vt:lpstr>
      <vt:lpstr>Scénáře pro dlouhodobé simulace zahrnující efekt vakcinace 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Predikovaný počet nových hospitalizačních případů (denní příjmy do nemocnic)</vt:lpstr>
      <vt:lpstr>Predikovaný celkový počet aktuálně hospitalizovaných</vt:lpstr>
      <vt:lpstr>Predikovaný počet aktuálně hospitalizovaných na JIP</vt:lpstr>
      <vt:lpstr>Predikovaný počet zemřelých</vt:lpstr>
      <vt:lpstr>Datová a informační základna  pro management pandemie COVID-19</vt:lpstr>
      <vt:lpstr>Počty COVID-19 pozitivních v ČR na 100 000 v populaci</vt:lpstr>
      <vt:lpstr>Počty COVID-19 pozitivních v ČR na 100 000 v populaci</vt:lpstr>
      <vt:lpstr>Počty COVID-19 pozitivních v ČR na 100 000 v populaci</vt:lpstr>
      <vt:lpstr>Počty COVID-19 pozitivních v ČR (absolutní počty)</vt:lpstr>
      <vt:lpstr>Počty symptomatických případů COVID-19 pozitivních v ČR na 100 000 v populaci</vt:lpstr>
      <vt:lpstr>Relativní pozitivita PCR testů</vt:lpstr>
      <vt:lpstr>7denní číslo R</vt:lpstr>
      <vt:lpstr>Denní nové příjmy do nemocnic</vt:lpstr>
      <vt:lpstr>Denní nové příjmy na JIP </vt:lpstr>
      <vt:lpstr>Počet hospitalizovaných s Covid-19 v nemocnicích</vt:lpstr>
      <vt:lpstr>Počet hospitalizovaných na JIP s Covid-19 v nemocnicích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Dušek Ladislav prof. RNDr. Ph.D.</cp:lastModifiedBy>
  <cp:revision>2205</cp:revision>
  <dcterms:created xsi:type="dcterms:W3CDTF">2020-03-16T10:06:11Z</dcterms:created>
  <dcterms:modified xsi:type="dcterms:W3CDTF">2021-09-28T17:30:43Z</dcterms:modified>
</cp:coreProperties>
</file>